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6" r:id="rId3"/>
    <p:sldMasterId id="2147483680" r:id="rId4"/>
  </p:sldMasterIdLst>
  <p:notesMasterIdLst>
    <p:notesMasterId r:id="rId38"/>
  </p:notesMasterIdLst>
  <p:sldIdLst>
    <p:sldId id="2147376854" r:id="rId5"/>
    <p:sldId id="2147376839" r:id="rId6"/>
    <p:sldId id="2147376857" r:id="rId7"/>
    <p:sldId id="2147376852" r:id="rId8"/>
    <p:sldId id="2147376859" r:id="rId9"/>
    <p:sldId id="2147376860" r:id="rId10"/>
    <p:sldId id="2147376858" r:id="rId11"/>
    <p:sldId id="2147376856" r:id="rId12"/>
    <p:sldId id="2147376842" r:id="rId13"/>
    <p:sldId id="2147376844" r:id="rId14"/>
    <p:sldId id="2147376840" r:id="rId15"/>
    <p:sldId id="2147376845" r:id="rId16"/>
    <p:sldId id="2147376846" r:id="rId17"/>
    <p:sldId id="2147376847" r:id="rId18"/>
    <p:sldId id="2147376848" r:id="rId19"/>
    <p:sldId id="2147376833" r:id="rId20"/>
    <p:sldId id="2147376787" r:id="rId21"/>
    <p:sldId id="2147376809" r:id="rId22"/>
    <p:sldId id="2147376841" r:id="rId23"/>
    <p:sldId id="2147376813" r:id="rId24"/>
    <p:sldId id="256" r:id="rId25"/>
    <p:sldId id="2147376790" r:id="rId26"/>
    <p:sldId id="2147376782" r:id="rId27"/>
    <p:sldId id="2147376792" r:id="rId28"/>
    <p:sldId id="2147376794" r:id="rId29"/>
    <p:sldId id="2147376791" r:id="rId30"/>
    <p:sldId id="2147376777" r:id="rId31"/>
    <p:sldId id="2147376044" r:id="rId32"/>
    <p:sldId id="2147376778" r:id="rId33"/>
    <p:sldId id="2147376757" r:id="rId34"/>
    <p:sldId id="2147376762" r:id="rId35"/>
    <p:sldId id="2147376855" r:id="rId36"/>
    <p:sldId id="2147376853" r:id="rId37"/>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33FF"/>
    <a:srgbClr val="0000CC"/>
    <a:srgbClr val="FF3399"/>
    <a:srgbClr val="FF66FF"/>
    <a:srgbClr val="10069F"/>
    <a:srgbClr val="81EBA7"/>
    <a:srgbClr val="2DF13B"/>
    <a:srgbClr val="29E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87A5E2-C2A2-4F23-BC8C-28F7F5EA6CA7}" v="1337" dt="2024-05-24T00:00:27.5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77" d="100"/>
          <a:sy n="77" d="100"/>
        </p:scale>
        <p:origin x="232" y="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rk, Connie" userId="73351e60-ad32-4085-a232-1d9f9b189479" providerId="ADAL" clId="{5F87A5E2-C2A2-4F23-BC8C-28F7F5EA6CA7}"/>
    <pc:docChg chg="undo redo custSel addSld delSld modSld sldOrd delMainMaster">
      <pc:chgData name="Clark, Connie" userId="73351e60-ad32-4085-a232-1d9f9b189479" providerId="ADAL" clId="{5F87A5E2-C2A2-4F23-BC8C-28F7F5EA6CA7}" dt="2024-05-24T00:09:13.161" v="31035" actId="2696"/>
      <pc:docMkLst>
        <pc:docMk/>
      </pc:docMkLst>
      <pc:sldChg chg="addSp delSp modSp mod ord">
        <pc:chgData name="Clark, Connie" userId="73351e60-ad32-4085-a232-1d9f9b189479" providerId="ADAL" clId="{5F87A5E2-C2A2-4F23-BC8C-28F7F5EA6CA7}" dt="2024-03-30T20:01:58.503" v="13203" actId="22"/>
        <pc:sldMkLst>
          <pc:docMk/>
          <pc:sldMk cId="4015539975" sldId="256"/>
        </pc:sldMkLst>
        <pc:spChg chg="add mod">
          <ac:chgData name="Clark, Connie" userId="73351e60-ad32-4085-a232-1d9f9b189479" providerId="ADAL" clId="{5F87A5E2-C2A2-4F23-BC8C-28F7F5EA6CA7}" dt="2024-03-29T23:32:07.880" v="8759" actId="1076"/>
          <ac:spMkLst>
            <pc:docMk/>
            <pc:sldMk cId="4015539975" sldId="256"/>
            <ac:spMk id="2" creationId="{A465A6E4-652C-2DC7-86B4-5B8234941BEF}"/>
          </ac:spMkLst>
        </pc:spChg>
        <pc:spChg chg="add mod">
          <ac:chgData name="Clark, Connie" userId="73351e60-ad32-4085-a232-1d9f9b189479" providerId="ADAL" clId="{5F87A5E2-C2A2-4F23-BC8C-28F7F5EA6CA7}" dt="2024-03-29T23:32:27.908" v="8760" actId="255"/>
          <ac:spMkLst>
            <pc:docMk/>
            <pc:sldMk cId="4015539975" sldId="256"/>
            <ac:spMk id="3" creationId="{41CDFD70-DE50-1A2C-3F4B-D3109A439ABD}"/>
          </ac:spMkLst>
        </pc:spChg>
        <pc:spChg chg="add del">
          <ac:chgData name="Clark, Connie" userId="73351e60-ad32-4085-a232-1d9f9b189479" providerId="ADAL" clId="{5F87A5E2-C2A2-4F23-BC8C-28F7F5EA6CA7}" dt="2024-03-30T20:01:58.503" v="13203" actId="22"/>
          <ac:spMkLst>
            <pc:docMk/>
            <pc:sldMk cId="4015539975" sldId="256"/>
            <ac:spMk id="5" creationId="{4245B2DC-D304-8484-A4B2-6676E4A5C5CC}"/>
          </ac:spMkLst>
        </pc:spChg>
        <pc:spChg chg="mod">
          <ac:chgData name="Clark, Connie" userId="73351e60-ad32-4085-a232-1d9f9b189479" providerId="ADAL" clId="{5F87A5E2-C2A2-4F23-BC8C-28F7F5EA6CA7}" dt="2024-03-29T23:31:53.364" v="8758" actId="20577"/>
          <ac:spMkLst>
            <pc:docMk/>
            <pc:sldMk cId="4015539975" sldId="256"/>
            <ac:spMk id="10" creationId="{12B1270C-F633-9796-D54A-4B18D5CA9451}"/>
          </ac:spMkLst>
        </pc:spChg>
        <pc:spChg chg="mod">
          <ac:chgData name="Clark, Connie" userId="73351e60-ad32-4085-a232-1d9f9b189479" providerId="ADAL" clId="{5F87A5E2-C2A2-4F23-BC8C-28F7F5EA6CA7}" dt="2024-03-29T23:39:58.282" v="8813" actId="20577"/>
          <ac:spMkLst>
            <pc:docMk/>
            <pc:sldMk cId="4015539975" sldId="256"/>
            <ac:spMk id="11" creationId="{1833051D-5018-DEC2-8B44-9059B75ED28A}"/>
          </ac:spMkLst>
        </pc:spChg>
      </pc:sldChg>
      <pc:sldChg chg="del">
        <pc:chgData name="Clark, Connie" userId="73351e60-ad32-4085-a232-1d9f9b189479" providerId="ADAL" clId="{5F87A5E2-C2A2-4F23-BC8C-28F7F5EA6CA7}" dt="2024-03-24T23:58:04.367" v="0" actId="47"/>
        <pc:sldMkLst>
          <pc:docMk/>
          <pc:sldMk cId="3989923275" sldId="298"/>
        </pc:sldMkLst>
      </pc:sldChg>
      <pc:sldChg chg="add del">
        <pc:chgData name="Clark, Connie" userId="73351e60-ad32-4085-a232-1d9f9b189479" providerId="ADAL" clId="{5F87A5E2-C2A2-4F23-BC8C-28F7F5EA6CA7}" dt="2024-05-23T23:57:35.565" v="31007" actId="47"/>
        <pc:sldMkLst>
          <pc:docMk/>
          <pc:sldMk cId="378968893" sldId="1272"/>
        </pc:sldMkLst>
      </pc:sldChg>
      <pc:sldChg chg="addSp delSp modSp mod ord">
        <pc:chgData name="Clark, Connie" userId="73351e60-ad32-4085-a232-1d9f9b189479" providerId="ADAL" clId="{5F87A5E2-C2A2-4F23-BC8C-28F7F5EA6CA7}" dt="2024-03-24T23:59:17.202" v="15"/>
        <pc:sldMkLst>
          <pc:docMk/>
          <pc:sldMk cId="1571464203" sldId="2147376044"/>
        </pc:sldMkLst>
        <pc:spChg chg="del mod">
          <ac:chgData name="Clark, Connie" userId="73351e60-ad32-4085-a232-1d9f9b189479" providerId="ADAL" clId="{5F87A5E2-C2A2-4F23-BC8C-28F7F5EA6CA7}" dt="2024-03-24T23:58:32.589" v="7" actId="478"/>
          <ac:spMkLst>
            <pc:docMk/>
            <pc:sldMk cId="1571464203" sldId="2147376044"/>
            <ac:spMk id="10" creationId="{7F554682-714F-BF81-46B2-22B8C42C0924}"/>
          </ac:spMkLst>
        </pc:spChg>
        <pc:spChg chg="add mod">
          <ac:chgData name="Clark, Connie" userId="73351e60-ad32-4085-a232-1d9f9b189479" providerId="ADAL" clId="{5F87A5E2-C2A2-4F23-BC8C-28F7F5EA6CA7}" dt="2024-03-24T23:59:15.153" v="14" actId="1076"/>
          <ac:spMkLst>
            <pc:docMk/>
            <pc:sldMk cId="1571464203" sldId="2147376044"/>
            <ac:spMk id="14" creationId="{2C02ADB2-1734-AD60-DB97-33B04B7CA5C9}"/>
          </ac:spMkLst>
        </pc:spChg>
        <pc:graphicFrameChg chg="mod">
          <ac:chgData name="Clark, Connie" userId="73351e60-ad32-4085-a232-1d9f9b189479" providerId="ADAL" clId="{5F87A5E2-C2A2-4F23-BC8C-28F7F5EA6CA7}" dt="2024-03-24T23:59:17.202" v="15"/>
          <ac:graphicFrameMkLst>
            <pc:docMk/>
            <pc:sldMk cId="1571464203" sldId="2147376044"/>
            <ac:graphicFrameMk id="2" creationId="{4144122B-2481-25DF-41BF-6658DB5BEFBC}"/>
          </ac:graphicFrameMkLst>
        </pc:graphicFrameChg>
      </pc:sldChg>
      <pc:sldChg chg="addSp delSp modSp mod">
        <pc:chgData name="Clark, Connie" userId="73351e60-ad32-4085-a232-1d9f9b189479" providerId="ADAL" clId="{5F87A5E2-C2A2-4F23-BC8C-28F7F5EA6CA7}" dt="2024-03-25T00:10:50.178" v="130"/>
        <pc:sldMkLst>
          <pc:docMk/>
          <pc:sldMk cId="56044528" sldId="2147376762"/>
        </pc:sldMkLst>
        <pc:spChg chg="del">
          <ac:chgData name="Clark, Connie" userId="73351e60-ad32-4085-a232-1d9f9b189479" providerId="ADAL" clId="{5F87A5E2-C2A2-4F23-BC8C-28F7F5EA6CA7}" dt="2024-03-25T00:10:31.467" v="123" actId="478"/>
          <ac:spMkLst>
            <pc:docMk/>
            <pc:sldMk cId="56044528" sldId="2147376762"/>
            <ac:spMk id="2" creationId="{EB77471F-BCFC-A4D4-E37D-B679B19E1B0B}"/>
          </ac:spMkLst>
        </pc:spChg>
        <pc:spChg chg="add del mod">
          <ac:chgData name="Clark, Connie" userId="73351e60-ad32-4085-a232-1d9f9b189479" providerId="ADAL" clId="{5F87A5E2-C2A2-4F23-BC8C-28F7F5EA6CA7}" dt="2024-03-25T00:10:43.308" v="127"/>
          <ac:spMkLst>
            <pc:docMk/>
            <pc:sldMk cId="56044528" sldId="2147376762"/>
            <ac:spMk id="3" creationId="{E05F8F12-7DC2-8873-F169-309679D864B9}"/>
          </ac:spMkLst>
        </pc:spChg>
        <pc:spChg chg="del">
          <ac:chgData name="Clark, Connie" userId="73351e60-ad32-4085-a232-1d9f9b189479" providerId="ADAL" clId="{5F87A5E2-C2A2-4F23-BC8C-28F7F5EA6CA7}" dt="2024-03-25T00:10:28.269" v="122" actId="478"/>
          <ac:spMkLst>
            <pc:docMk/>
            <pc:sldMk cId="56044528" sldId="2147376762"/>
            <ac:spMk id="5" creationId="{BF81F06C-5B15-54F0-34CA-2893314EEAF5}"/>
          </ac:spMkLst>
        </pc:spChg>
        <pc:spChg chg="add del mod">
          <ac:chgData name="Clark, Connie" userId="73351e60-ad32-4085-a232-1d9f9b189479" providerId="ADAL" clId="{5F87A5E2-C2A2-4F23-BC8C-28F7F5EA6CA7}" dt="2024-03-25T00:10:43.308" v="127"/>
          <ac:spMkLst>
            <pc:docMk/>
            <pc:sldMk cId="56044528" sldId="2147376762"/>
            <ac:spMk id="6" creationId="{6A801EA6-C7C5-89A9-082C-760AEF26B32E}"/>
          </ac:spMkLst>
        </pc:spChg>
        <pc:spChg chg="add del mod">
          <ac:chgData name="Clark, Connie" userId="73351e60-ad32-4085-a232-1d9f9b189479" providerId="ADAL" clId="{5F87A5E2-C2A2-4F23-BC8C-28F7F5EA6CA7}" dt="2024-03-25T00:10:43.308" v="127"/>
          <ac:spMkLst>
            <pc:docMk/>
            <pc:sldMk cId="56044528" sldId="2147376762"/>
            <ac:spMk id="7" creationId="{2239A545-8AA0-4A93-E463-7C5C3DBE6100}"/>
          </ac:spMkLst>
        </pc:spChg>
        <pc:spChg chg="add del mod">
          <ac:chgData name="Clark, Connie" userId="73351e60-ad32-4085-a232-1d9f9b189479" providerId="ADAL" clId="{5F87A5E2-C2A2-4F23-BC8C-28F7F5EA6CA7}" dt="2024-03-25T00:10:43.308" v="127"/>
          <ac:spMkLst>
            <pc:docMk/>
            <pc:sldMk cId="56044528" sldId="2147376762"/>
            <ac:spMk id="8" creationId="{50E2B404-D146-F8E6-CE1A-268C8E7D8A9D}"/>
          </ac:spMkLst>
        </pc:spChg>
        <pc:spChg chg="add del mod">
          <ac:chgData name="Clark, Connie" userId="73351e60-ad32-4085-a232-1d9f9b189479" providerId="ADAL" clId="{5F87A5E2-C2A2-4F23-BC8C-28F7F5EA6CA7}" dt="2024-03-25T00:10:43.308" v="127"/>
          <ac:spMkLst>
            <pc:docMk/>
            <pc:sldMk cId="56044528" sldId="2147376762"/>
            <ac:spMk id="9" creationId="{5EF55167-A39F-FF9E-5626-1981FE7DD362}"/>
          </ac:spMkLst>
        </pc:spChg>
        <pc:spChg chg="add del mod">
          <ac:chgData name="Clark, Connie" userId="73351e60-ad32-4085-a232-1d9f9b189479" providerId="ADAL" clId="{5F87A5E2-C2A2-4F23-BC8C-28F7F5EA6CA7}" dt="2024-03-25T00:10:50.138" v="129"/>
          <ac:spMkLst>
            <pc:docMk/>
            <pc:sldMk cId="56044528" sldId="2147376762"/>
            <ac:spMk id="10" creationId="{37535DF8-3AE3-6026-51D0-E9FFABCDDDD4}"/>
          </ac:spMkLst>
        </pc:spChg>
        <pc:spChg chg="add del mod">
          <ac:chgData name="Clark, Connie" userId="73351e60-ad32-4085-a232-1d9f9b189479" providerId="ADAL" clId="{5F87A5E2-C2A2-4F23-BC8C-28F7F5EA6CA7}" dt="2024-03-25T00:10:50.138" v="129"/>
          <ac:spMkLst>
            <pc:docMk/>
            <pc:sldMk cId="56044528" sldId="2147376762"/>
            <ac:spMk id="12" creationId="{56AC39D8-CDD0-A38D-A792-A97E02A63FD6}"/>
          </ac:spMkLst>
        </pc:spChg>
        <pc:spChg chg="add del mod">
          <ac:chgData name="Clark, Connie" userId="73351e60-ad32-4085-a232-1d9f9b189479" providerId="ADAL" clId="{5F87A5E2-C2A2-4F23-BC8C-28F7F5EA6CA7}" dt="2024-03-25T00:10:50.138" v="129"/>
          <ac:spMkLst>
            <pc:docMk/>
            <pc:sldMk cId="56044528" sldId="2147376762"/>
            <ac:spMk id="13" creationId="{E7CE0371-A62B-7193-B959-B73BBDD33469}"/>
          </ac:spMkLst>
        </pc:spChg>
        <pc:spChg chg="add del mod">
          <ac:chgData name="Clark, Connie" userId="73351e60-ad32-4085-a232-1d9f9b189479" providerId="ADAL" clId="{5F87A5E2-C2A2-4F23-BC8C-28F7F5EA6CA7}" dt="2024-03-25T00:10:50.138" v="129"/>
          <ac:spMkLst>
            <pc:docMk/>
            <pc:sldMk cId="56044528" sldId="2147376762"/>
            <ac:spMk id="14" creationId="{D0A10513-3B2C-2F50-2615-457D58FCC749}"/>
          </ac:spMkLst>
        </pc:spChg>
        <pc:spChg chg="add del mod">
          <ac:chgData name="Clark, Connie" userId="73351e60-ad32-4085-a232-1d9f9b189479" providerId="ADAL" clId="{5F87A5E2-C2A2-4F23-BC8C-28F7F5EA6CA7}" dt="2024-03-25T00:10:50.138" v="129"/>
          <ac:spMkLst>
            <pc:docMk/>
            <pc:sldMk cId="56044528" sldId="2147376762"/>
            <ac:spMk id="15" creationId="{659585FA-7300-074D-EBB4-910425A836DE}"/>
          </ac:spMkLst>
        </pc:spChg>
        <pc:spChg chg="add mod">
          <ac:chgData name="Clark, Connie" userId="73351e60-ad32-4085-a232-1d9f9b189479" providerId="ADAL" clId="{5F87A5E2-C2A2-4F23-BC8C-28F7F5EA6CA7}" dt="2024-03-25T00:10:50.178" v="130"/>
          <ac:spMkLst>
            <pc:docMk/>
            <pc:sldMk cId="56044528" sldId="2147376762"/>
            <ac:spMk id="16" creationId="{726E1A6B-3337-1A25-B464-002CAE9A8758}"/>
          </ac:spMkLst>
        </pc:spChg>
        <pc:spChg chg="add mod">
          <ac:chgData name="Clark, Connie" userId="73351e60-ad32-4085-a232-1d9f9b189479" providerId="ADAL" clId="{5F87A5E2-C2A2-4F23-BC8C-28F7F5EA6CA7}" dt="2024-03-25T00:10:50.178" v="130"/>
          <ac:spMkLst>
            <pc:docMk/>
            <pc:sldMk cId="56044528" sldId="2147376762"/>
            <ac:spMk id="18" creationId="{BED6F328-BD71-C108-B64C-2ACCBEA83428}"/>
          </ac:spMkLst>
        </pc:spChg>
        <pc:spChg chg="add mod">
          <ac:chgData name="Clark, Connie" userId="73351e60-ad32-4085-a232-1d9f9b189479" providerId="ADAL" clId="{5F87A5E2-C2A2-4F23-BC8C-28F7F5EA6CA7}" dt="2024-03-25T00:10:50.178" v="130"/>
          <ac:spMkLst>
            <pc:docMk/>
            <pc:sldMk cId="56044528" sldId="2147376762"/>
            <ac:spMk id="19" creationId="{9C549A8B-4FCA-F13A-C28C-38EB68B5E0C8}"/>
          </ac:spMkLst>
        </pc:spChg>
        <pc:spChg chg="add mod">
          <ac:chgData name="Clark, Connie" userId="73351e60-ad32-4085-a232-1d9f9b189479" providerId="ADAL" clId="{5F87A5E2-C2A2-4F23-BC8C-28F7F5EA6CA7}" dt="2024-03-25T00:10:50.178" v="130"/>
          <ac:spMkLst>
            <pc:docMk/>
            <pc:sldMk cId="56044528" sldId="2147376762"/>
            <ac:spMk id="20" creationId="{CC18DA25-3156-48B5-BBF8-59B643F4DB62}"/>
          </ac:spMkLst>
        </pc:spChg>
        <pc:spChg chg="add mod">
          <ac:chgData name="Clark, Connie" userId="73351e60-ad32-4085-a232-1d9f9b189479" providerId="ADAL" clId="{5F87A5E2-C2A2-4F23-BC8C-28F7F5EA6CA7}" dt="2024-03-25T00:10:50.178" v="130"/>
          <ac:spMkLst>
            <pc:docMk/>
            <pc:sldMk cId="56044528" sldId="2147376762"/>
            <ac:spMk id="21" creationId="{AF8B3626-E9C5-E691-BC9C-1844D1DC08B0}"/>
          </ac:spMkLst>
        </pc:spChg>
        <pc:picChg chg="add del mod">
          <ac:chgData name="Clark, Connie" userId="73351e60-ad32-4085-a232-1d9f9b189479" providerId="ADAL" clId="{5F87A5E2-C2A2-4F23-BC8C-28F7F5EA6CA7}" dt="2024-03-25T00:10:43.308" v="127"/>
          <ac:picMkLst>
            <pc:docMk/>
            <pc:sldMk cId="56044528" sldId="2147376762"/>
            <ac:picMk id="4" creationId="{1014D578-615A-E1F2-7DAE-808959655EA3}"/>
          </ac:picMkLst>
        </pc:picChg>
        <pc:picChg chg="add del mod">
          <ac:chgData name="Clark, Connie" userId="73351e60-ad32-4085-a232-1d9f9b189479" providerId="ADAL" clId="{5F87A5E2-C2A2-4F23-BC8C-28F7F5EA6CA7}" dt="2024-03-25T00:10:50.138" v="129"/>
          <ac:picMkLst>
            <pc:docMk/>
            <pc:sldMk cId="56044528" sldId="2147376762"/>
            <ac:picMk id="11" creationId="{FDC3BD50-6A96-0451-5A8D-6647C21610B9}"/>
          </ac:picMkLst>
        </pc:picChg>
        <pc:picChg chg="add mod">
          <ac:chgData name="Clark, Connie" userId="73351e60-ad32-4085-a232-1d9f9b189479" providerId="ADAL" clId="{5F87A5E2-C2A2-4F23-BC8C-28F7F5EA6CA7}" dt="2024-03-25T00:10:50.178" v="130"/>
          <ac:picMkLst>
            <pc:docMk/>
            <pc:sldMk cId="56044528" sldId="2147376762"/>
            <ac:picMk id="17" creationId="{7530030D-FAEB-E8E8-4ACB-1B6F2B5103DB}"/>
          </ac:picMkLst>
        </pc:picChg>
      </pc:sldChg>
      <pc:sldChg chg="del">
        <pc:chgData name="Clark, Connie" userId="73351e60-ad32-4085-a232-1d9f9b189479" providerId="ADAL" clId="{5F87A5E2-C2A2-4F23-BC8C-28F7F5EA6CA7}" dt="2024-05-23T23:56:22.729" v="31004" actId="47"/>
        <pc:sldMkLst>
          <pc:docMk/>
          <pc:sldMk cId="1579773102" sldId="2147376769"/>
        </pc:sldMkLst>
      </pc:sldChg>
      <pc:sldChg chg="del">
        <pc:chgData name="Clark, Connie" userId="73351e60-ad32-4085-a232-1d9f9b189479" providerId="ADAL" clId="{5F87A5E2-C2A2-4F23-BC8C-28F7F5EA6CA7}" dt="2024-05-23T23:57:02.029" v="31006" actId="47"/>
        <pc:sldMkLst>
          <pc:docMk/>
          <pc:sldMk cId="1116382943" sldId="2147376775"/>
        </pc:sldMkLst>
      </pc:sldChg>
      <pc:sldChg chg="del">
        <pc:chgData name="Clark, Connie" userId="73351e60-ad32-4085-a232-1d9f9b189479" providerId="ADAL" clId="{5F87A5E2-C2A2-4F23-BC8C-28F7F5EA6CA7}" dt="2024-05-23T23:57:00.677" v="31005" actId="47"/>
        <pc:sldMkLst>
          <pc:docMk/>
          <pc:sldMk cId="2779373063" sldId="2147376776"/>
        </pc:sldMkLst>
      </pc:sldChg>
      <pc:sldChg chg="delSp modSp mod ord">
        <pc:chgData name="Clark, Connie" userId="73351e60-ad32-4085-a232-1d9f9b189479" providerId="ADAL" clId="{5F87A5E2-C2A2-4F23-BC8C-28F7F5EA6CA7}" dt="2024-03-25T02:41:56.860" v="3280"/>
        <pc:sldMkLst>
          <pc:docMk/>
          <pc:sldMk cId="3140934574" sldId="2147376777"/>
        </pc:sldMkLst>
        <pc:spChg chg="mod">
          <ac:chgData name="Clark, Connie" userId="73351e60-ad32-4085-a232-1d9f9b189479" providerId="ADAL" clId="{5F87A5E2-C2A2-4F23-BC8C-28F7F5EA6CA7}" dt="2024-03-25T02:14:37.490" v="2485" actId="20577"/>
          <ac:spMkLst>
            <pc:docMk/>
            <pc:sldMk cId="3140934574" sldId="2147376777"/>
            <ac:spMk id="9" creationId="{6ABE4186-270C-1250-EB37-8D30E7BD0ACA}"/>
          </ac:spMkLst>
        </pc:spChg>
        <pc:spChg chg="mod">
          <ac:chgData name="Clark, Connie" userId="73351e60-ad32-4085-a232-1d9f9b189479" providerId="ADAL" clId="{5F87A5E2-C2A2-4F23-BC8C-28F7F5EA6CA7}" dt="2024-03-25T02:15:02.156" v="2489" actId="20577"/>
          <ac:spMkLst>
            <pc:docMk/>
            <pc:sldMk cId="3140934574" sldId="2147376777"/>
            <ac:spMk id="18" creationId="{65150C9F-D8BF-3ECF-CDBB-8D81095F3C1C}"/>
          </ac:spMkLst>
        </pc:spChg>
        <pc:spChg chg="mod">
          <ac:chgData name="Clark, Connie" userId="73351e60-ad32-4085-a232-1d9f9b189479" providerId="ADAL" clId="{5F87A5E2-C2A2-4F23-BC8C-28F7F5EA6CA7}" dt="2024-03-25T02:13:24.386" v="2423"/>
          <ac:spMkLst>
            <pc:docMk/>
            <pc:sldMk cId="3140934574" sldId="2147376777"/>
            <ac:spMk id="19" creationId="{4281BD7D-9865-4DB2-0E4C-00ADCEF1D199}"/>
          </ac:spMkLst>
        </pc:spChg>
        <pc:spChg chg="mod">
          <ac:chgData name="Clark, Connie" userId="73351e60-ad32-4085-a232-1d9f9b189479" providerId="ADAL" clId="{5F87A5E2-C2A2-4F23-BC8C-28F7F5EA6CA7}" dt="2024-03-25T02:15:09.299" v="2495" actId="20577"/>
          <ac:spMkLst>
            <pc:docMk/>
            <pc:sldMk cId="3140934574" sldId="2147376777"/>
            <ac:spMk id="20" creationId="{5B8ED30F-16E6-B942-3707-DB59BAE3FDA0}"/>
          </ac:spMkLst>
        </pc:spChg>
        <pc:spChg chg="del mod">
          <ac:chgData name="Clark, Connie" userId="73351e60-ad32-4085-a232-1d9f9b189479" providerId="ADAL" clId="{5F87A5E2-C2A2-4F23-BC8C-28F7F5EA6CA7}" dt="2024-03-25T02:16:56.991" v="2539" actId="478"/>
          <ac:spMkLst>
            <pc:docMk/>
            <pc:sldMk cId="3140934574" sldId="2147376777"/>
            <ac:spMk id="38" creationId="{84C31B67-F501-9B45-A238-B837D5208552}"/>
          </ac:spMkLst>
        </pc:spChg>
        <pc:graphicFrameChg chg="mod">
          <ac:chgData name="Clark, Connie" userId="73351e60-ad32-4085-a232-1d9f9b189479" providerId="ADAL" clId="{5F87A5E2-C2A2-4F23-BC8C-28F7F5EA6CA7}" dt="2024-03-25T02:17:28.226" v="2547"/>
          <ac:graphicFrameMkLst>
            <pc:docMk/>
            <pc:sldMk cId="3140934574" sldId="2147376777"/>
            <ac:graphicFrameMk id="2" creationId="{4144122B-2481-25DF-41BF-6658DB5BEFBC}"/>
          </ac:graphicFrameMkLst>
        </pc:graphicFrameChg>
      </pc:sldChg>
      <pc:sldChg chg="delSp modSp add del mod">
        <pc:chgData name="Clark, Connie" userId="73351e60-ad32-4085-a232-1d9f9b189479" providerId="ADAL" clId="{5F87A5E2-C2A2-4F23-BC8C-28F7F5EA6CA7}" dt="2024-05-23T23:58:59.689" v="31027" actId="47"/>
        <pc:sldMkLst>
          <pc:docMk/>
          <pc:sldMk cId="1791897046" sldId="2147376779"/>
        </pc:sldMkLst>
        <pc:spChg chg="mod">
          <ac:chgData name="Clark, Connie" userId="73351e60-ad32-4085-a232-1d9f9b189479" providerId="ADAL" clId="{5F87A5E2-C2A2-4F23-BC8C-28F7F5EA6CA7}" dt="2024-03-25T00:09:22.963" v="121" actId="20577"/>
          <ac:spMkLst>
            <pc:docMk/>
            <pc:sldMk cId="1791897046" sldId="2147376779"/>
            <ac:spMk id="6" creationId="{DB622F97-FBE5-49FC-96CD-9742FBF5C345}"/>
          </ac:spMkLst>
        </pc:spChg>
        <pc:spChg chg="mod">
          <ac:chgData name="Clark, Connie" userId="73351e60-ad32-4085-a232-1d9f9b189479" providerId="ADAL" clId="{5F87A5E2-C2A2-4F23-BC8C-28F7F5EA6CA7}" dt="2024-03-25T00:08:09.272" v="41" actId="20577"/>
          <ac:spMkLst>
            <pc:docMk/>
            <pc:sldMk cId="1791897046" sldId="2147376779"/>
            <ac:spMk id="28" creationId="{63A0EA45-F4ED-44A9-83AF-58A6E208ABEF}"/>
          </ac:spMkLst>
        </pc:spChg>
        <pc:spChg chg="mod">
          <ac:chgData name="Clark, Connie" userId="73351e60-ad32-4085-a232-1d9f9b189479" providerId="ADAL" clId="{5F87A5E2-C2A2-4F23-BC8C-28F7F5EA6CA7}" dt="2024-03-25T00:08:15.410" v="50" actId="20577"/>
          <ac:spMkLst>
            <pc:docMk/>
            <pc:sldMk cId="1791897046" sldId="2147376779"/>
            <ac:spMk id="29" creationId="{E757E299-6E9A-4E8B-A053-1888832B27A9}"/>
          </ac:spMkLst>
        </pc:spChg>
        <pc:spChg chg="mod">
          <ac:chgData name="Clark, Connie" userId="73351e60-ad32-4085-a232-1d9f9b189479" providerId="ADAL" clId="{5F87A5E2-C2A2-4F23-BC8C-28F7F5EA6CA7}" dt="2024-03-25T00:08:44.346" v="91" actId="20577"/>
          <ac:spMkLst>
            <pc:docMk/>
            <pc:sldMk cId="1791897046" sldId="2147376779"/>
            <ac:spMk id="30" creationId="{05F2657D-203E-49E7-AE12-8089F9597839}"/>
          </ac:spMkLst>
        </pc:spChg>
        <pc:spChg chg="mod">
          <ac:chgData name="Clark, Connie" userId="73351e60-ad32-4085-a232-1d9f9b189479" providerId="ADAL" clId="{5F87A5E2-C2A2-4F23-BC8C-28F7F5EA6CA7}" dt="2024-03-25T00:09:04.337" v="111" actId="20577"/>
          <ac:spMkLst>
            <pc:docMk/>
            <pc:sldMk cId="1791897046" sldId="2147376779"/>
            <ac:spMk id="32" creationId="{30821989-236B-4B92-A80B-993284017FEC}"/>
          </ac:spMkLst>
        </pc:spChg>
        <pc:picChg chg="del">
          <ac:chgData name="Clark, Connie" userId="73351e60-ad32-4085-a232-1d9f9b189479" providerId="ADAL" clId="{5F87A5E2-C2A2-4F23-BC8C-28F7F5EA6CA7}" dt="2024-05-23T23:57:55.583" v="31008" actId="478"/>
          <ac:picMkLst>
            <pc:docMk/>
            <pc:sldMk cId="1791897046" sldId="2147376779"/>
            <ac:picMk id="5" creationId="{D88D6E81-CAE8-4FE1-8AB3-3B71A6D83E76}"/>
          </ac:picMkLst>
        </pc:picChg>
      </pc:sldChg>
      <pc:sldChg chg="add del">
        <pc:chgData name="Clark, Connie" userId="73351e60-ad32-4085-a232-1d9f9b189479" providerId="ADAL" clId="{5F87A5E2-C2A2-4F23-BC8C-28F7F5EA6CA7}" dt="2024-03-25T00:05:11.311" v="20"/>
        <pc:sldMkLst>
          <pc:docMk/>
          <pc:sldMk cId="2151820071" sldId="2147376779"/>
        </pc:sldMkLst>
      </pc:sldChg>
      <pc:sldChg chg="addSp delSp modSp add del mod">
        <pc:chgData name="Clark, Connie" userId="73351e60-ad32-4085-a232-1d9f9b189479" providerId="ADAL" clId="{5F87A5E2-C2A2-4F23-BC8C-28F7F5EA6CA7}" dt="2024-05-24T00:00:36.479" v="31033" actId="47"/>
        <pc:sldMkLst>
          <pc:docMk/>
          <pc:sldMk cId="2897983513" sldId="2147376780"/>
        </pc:sldMkLst>
        <pc:spChg chg="add del mod">
          <ac:chgData name="Clark, Connie" userId="73351e60-ad32-4085-a232-1d9f9b189479" providerId="ADAL" clId="{5F87A5E2-C2A2-4F23-BC8C-28F7F5EA6CA7}" dt="2024-05-23T23:58:24.523" v="31017"/>
          <ac:spMkLst>
            <pc:docMk/>
            <pc:sldMk cId="2897983513" sldId="2147376780"/>
            <ac:spMk id="2" creationId="{BAAAE9D2-6E7F-52B8-0571-F61BC736E85F}"/>
          </ac:spMkLst>
        </pc:spChg>
        <pc:spChg chg="add mod">
          <ac:chgData name="Clark, Connie" userId="73351e60-ad32-4085-a232-1d9f9b189479" providerId="ADAL" clId="{5F87A5E2-C2A2-4F23-BC8C-28F7F5EA6CA7}" dt="2024-03-25T00:33:43.238" v="157" actId="948"/>
          <ac:spMkLst>
            <pc:docMk/>
            <pc:sldMk cId="2897983513" sldId="2147376780"/>
            <ac:spMk id="3" creationId="{9AFBF33D-ED8C-A6DE-E037-F533CE2052F2}"/>
          </ac:spMkLst>
        </pc:spChg>
        <pc:spChg chg="add del mod">
          <ac:chgData name="Clark, Connie" userId="73351e60-ad32-4085-a232-1d9f9b189479" providerId="ADAL" clId="{5F87A5E2-C2A2-4F23-BC8C-28F7F5EA6CA7}" dt="2024-05-23T23:58:24.523" v="31017"/>
          <ac:spMkLst>
            <pc:docMk/>
            <pc:sldMk cId="2897983513" sldId="2147376780"/>
            <ac:spMk id="4" creationId="{18A2DC02-2E02-A460-8909-B19FDFD2C35D}"/>
          </ac:spMkLst>
        </pc:spChg>
        <pc:spChg chg="add del mod">
          <ac:chgData name="Clark, Connie" userId="73351e60-ad32-4085-a232-1d9f9b189479" providerId="ADAL" clId="{5F87A5E2-C2A2-4F23-BC8C-28F7F5EA6CA7}" dt="2024-03-25T03:19:21.981" v="3485"/>
          <ac:spMkLst>
            <pc:docMk/>
            <pc:sldMk cId="2897983513" sldId="2147376780"/>
            <ac:spMk id="4" creationId="{AC4C0AA1-DE98-5B18-FEBC-3C42BAB2B31E}"/>
          </ac:spMkLst>
        </pc:spChg>
        <pc:spChg chg="add del mod">
          <ac:chgData name="Clark, Connie" userId="73351e60-ad32-4085-a232-1d9f9b189479" providerId="ADAL" clId="{5F87A5E2-C2A2-4F23-BC8C-28F7F5EA6CA7}" dt="2024-03-25T03:19:21.981" v="3485"/>
          <ac:spMkLst>
            <pc:docMk/>
            <pc:sldMk cId="2897983513" sldId="2147376780"/>
            <ac:spMk id="5" creationId="{571B7DA9-88E5-D318-715E-2C19CB567E62}"/>
          </ac:spMkLst>
        </pc:spChg>
        <pc:spChg chg="add del mod">
          <ac:chgData name="Clark, Connie" userId="73351e60-ad32-4085-a232-1d9f9b189479" providerId="ADAL" clId="{5F87A5E2-C2A2-4F23-BC8C-28F7F5EA6CA7}" dt="2024-05-23T23:58:24.523" v="31017"/>
          <ac:spMkLst>
            <pc:docMk/>
            <pc:sldMk cId="2897983513" sldId="2147376780"/>
            <ac:spMk id="5" creationId="{7D12C3E2-4AFA-A761-AD61-4D0D448AC57B}"/>
          </ac:spMkLst>
        </pc:spChg>
        <pc:spChg chg="add del mod">
          <ac:chgData name="Clark, Connie" userId="73351e60-ad32-4085-a232-1d9f9b189479" providerId="ADAL" clId="{5F87A5E2-C2A2-4F23-BC8C-28F7F5EA6CA7}" dt="2024-05-23T23:58:24.523" v="31017"/>
          <ac:spMkLst>
            <pc:docMk/>
            <pc:sldMk cId="2897983513" sldId="2147376780"/>
            <ac:spMk id="6" creationId="{13A862BF-6E7F-4FB8-8B3B-2ABFBC276992}"/>
          </ac:spMkLst>
        </pc:spChg>
        <pc:spChg chg="add del mod">
          <ac:chgData name="Clark, Connie" userId="73351e60-ad32-4085-a232-1d9f9b189479" providerId="ADAL" clId="{5F87A5E2-C2A2-4F23-BC8C-28F7F5EA6CA7}" dt="2024-03-25T03:19:21.981" v="3485"/>
          <ac:spMkLst>
            <pc:docMk/>
            <pc:sldMk cId="2897983513" sldId="2147376780"/>
            <ac:spMk id="6" creationId="{64C2F14A-534C-9A4B-F21B-CADB8B09CF93}"/>
          </ac:spMkLst>
        </pc:spChg>
        <pc:spChg chg="add del mod">
          <ac:chgData name="Clark, Connie" userId="73351e60-ad32-4085-a232-1d9f9b189479" providerId="ADAL" clId="{5F87A5E2-C2A2-4F23-BC8C-28F7F5EA6CA7}" dt="2024-05-23T23:58:24.523" v="31017"/>
          <ac:spMkLst>
            <pc:docMk/>
            <pc:sldMk cId="2897983513" sldId="2147376780"/>
            <ac:spMk id="7" creationId="{357CA468-D717-554F-BB14-41F2FB5B0857}"/>
          </ac:spMkLst>
        </pc:spChg>
        <pc:spChg chg="add del mod">
          <ac:chgData name="Clark, Connie" userId="73351e60-ad32-4085-a232-1d9f9b189479" providerId="ADAL" clId="{5F87A5E2-C2A2-4F23-BC8C-28F7F5EA6CA7}" dt="2024-03-25T03:19:21.981" v="3485"/>
          <ac:spMkLst>
            <pc:docMk/>
            <pc:sldMk cId="2897983513" sldId="2147376780"/>
            <ac:spMk id="7" creationId="{735D097C-3B0C-DD60-D825-325389C5C154}"/>
          </ac:spMkLst>
        </pc:spChg>
        <pc:spChg chg="add del mod">
          <ac:chgData name="Clark, Connie" userId="73351e60-ad32-4085-a232-1d9f9b189479" providerId="ADAL" clId="{5F87A5E2-C2A2-4F23-BC8C-28F7F5EA6CA7}" dt="2024-05-23T23:58:24.523" v="31017"/>
          <ac:spMkLst>
            <pc:docMk/>
            <pc:sldMk cId="2897983513" sldId="2147376780"/>
            <ac:spMk id="8" creationId="{FD706E6C-19E9-E0D6-87AA-B0566454AEA3}"/>
          </ac:spMkLst>
        </pc:spChg>
        <pc:spChg chg="add del mod">
          <ac:chgData name="Clark, Connie" userId="73351e60-ad32-4085-a232-1d9f9b189479" providerId="ADAL" clId="{5F87A5E2-C2A2-4F23-BC8C-28F7F5EA6CA7}" dt="2024-05-23T23:59:34.514" v="31028" actId="1076"/>
          <ac:spMkLst>
            <pc:docMk/>
            <pc:sldMk cId="2897983513" sldId="2147376780"/>
            <ac:spMk id="9" creationId="{9471083A-98D2-8F37-7493-9C680DF70067}"/>
          </ac:spMkLst>
        </pc:spChg>
        <pc:spChg chg="add del mod">
          <ac:chgData name="Clark, Connie" userId="73351e60-ad32-4085-a232-1d9f9b189479" providerId="ADAL" clId="{5F87A5E2-C2A2-4F23-BC8C-28F7F5EA6CA7}" dt="2024-03-25T00:32:30.654" v="151" actId="20577"/>
          <ac:spMkLst>
            <pc:docMk/>
            <pc:sldMk cId="2897983513" sldId="2147376780"/>
            <ac:spMk id="10" creationId="{12B1270C-F633-9796-D54A-4B18D5CA9451}"/>
          </ac:spMkLst>
        </pc:spChg>
        <pc:spChg chg="add del">
          <ac:chgData name="Clark, Connie" userId="73351e60-ad32-4085-a232-1d9f9b189479" providerId="ADAL" clId="{5F87A5E2-C2A2-4F23-BC8C-28F7F5EA6CA7}" dt="2024-03-25T00:11:37.909" v="138" actId="478"/>
          <ac:spMkLst>
            <pc:docMk/>
            <pc:sldMk cId="2897983513" sldId="2147376780"/>
            <ac:spMk id="11" creationId="{1833051D-5018-DEC2-8B44-9059B75ED28A}"/>
          </ac:spMkLst>
        </pc:spChg>
        <pc:spChg chg="add del mod">
          <ac:chgData name="Clark, Connie" userId="73351e60-ad32-4085-a232-1d9f9b189479" providerId="ADAL" clId="{5F87A5E2-C2A2-4F23-BC8C-28F7F5EA6CA7}" dt="2024-05-23T23:58:24.523" v="31017"/>
          <ac:spMkLst>
            <pc:docMk/>
            <pc:sldMk cId="2897983513" sldId="2147376780"/>
            <ac:spMk id="11" creationId="{CD30C828-262A-A780-4443-E4931B1534C6}"/>
          </ac:spMkLst>
        </pc:spChg>
        <pc:spChg chg="add del mod">
          <ac:chgData name="Clark, Connie" userId="73351e60-ad32-4085-a232-1d9f9b189479" providerId="ADAL" clId="{5F87A5E2-C2A2-4F23-BC8C-28F7F5EA6CA7}" dt="2024-05-23T23:58:24.523" v="31017"/>
          <ac:spMkLst>
            <pc:docMk/>
            <pc:sldMk cId="2897983513" sldId="2147376780"/>
            <ac:spMk id="12" creationId="{2198CC02-4D6C-09B8-4736-BB8A135FD4DD}"/>
          </ac:spMkLst>
        </pc:spChg>
        <pc:spChg chg="add del mod">
          <ac:chgData name="Clark, Connie" userId="73351e60-ad32-4085-a232-1d9f9b189479" providerId="ADAL" clId="{5F87A5E2-C2A2-4F23-BC8C-28F7F5EA6CA7}" dt="2024-03-25T03:19:21.981" v="3485"/>
          <ac:spMkLst>
            <pc:docMk/>
            <pc:sldMk cId="2897983513" sldId="2147376780"/>
            <ac:spMk id="12" creationId="{4CAA93EE-10BE-123A-6653-A4F39244AD1E}"/>
          </ac:spMkLst>
        </pc:spChg>
        <pc:spChg chg="add del mod">
          <ac:chgData name="Clark, Connie" userId="73351e60-ad32-4085-a232-1d9f9b189479" providerId="ADAL" clId="{5F87A5E2-C2A2-4F23-BC8C-28F7F5EA6CA7}" dt="2024-03-25T03:19:21.981" v="3485"/>
          <ac:spMkLst>
            <pc:docMk/>
            <pc:sldMk cId="2897983513" sldId="2147376780"/>
            <ac:spMk id="13" creationId="{FD563AEC-8A05-E225-5E2B-82908A981CE6}"/>
          </ac:spMkLst>
        </pc:spChg>
        <pc:spChg chg="add del mod">
          <ac:chgData name="Clark, Connie" userId="73351e60-ad32-4085-a232-1d9f9b189479" providerId="ADAL" clId="{5F87A5E2-C2A2-4F23-BC8C-28F7F5EA6CA7}" dt="2024-03-25T03:19:21.981" v="3485"/>
          <ac:spMkLst>
            <pc:docMk/>
            <pc:sldMk cId="2897983513" sldId="2147376780"/>
            <ac:spMk id="14" creationId="{74522382-5083-C7FD-E0F4-CE190DEFFE60}"/>
          </ac:spMkLst>
        </pc:spChg>
        <pc:spChg chg="add del mod">
          <ac:chgData name="Clark, Connie" userId="73351e60-ad32-4085-a232-1d9f9b189479" providerId="ADAL" clId="{5F87A5E2-C2A2-4F23-BC8C-28F7F5EA6CA7}" dt="2024-03-25T03:19:21.981" v="3485"/>
          <ac:spMkLst>
            <pc:docMk/>
            <pc:sldMk cId="2897983513" sldId="2147376780"/>
            <ac:spMk id="15" creationId="{AD3D0C30-0613-BEEA-F6BE-8D3B7579F42A}"/>
          </ac:spMkLst>
        </pc:spChg>
        <pc:spChg chg="add del mod">
          <ac:chgData name="Clark, Connie" userId="73351e60-ad32-4085-a232-1d9f9b189479" providerId="ADAL" clId="{5F87A5E2-C2A2-4F23-BC8C-28F7F5EA6CA7}" dt="2024-05-23T23:58:24.523" v="31017"/>
          <ac:spMkLst>
            <pc:docMk/>
            <pc:sldMk cId="2897983513" sldId="2147376780"/>
            <ac:spMk id="21" creationId="{36ADAE22-6B5C-4076-28B1-78DB6A64A494}"/>
          </ac:spMkLst>
        </pc:spChg>
        <pc:spChg chg="add del mod">
          <ac:chgData name="Clark, Connie" userId="73351e60-ad32-4085-a232-1d9f9b189479" providerId="ADAL" clId="{5F87A5E2-C2A2-4F23-BC8C-28F7F5EA6CA7}" dt="2024-05-23T23:58:24.523" v="31017"/>
          <ac:spMkLst>
            <pc:docMk/>
            <pc:sldMk cId="2897983513" sldId="2147376780"/>
            <ac:spMk id="22" creationId="{B12FAD10-36E7-98DB-B034-41DF1829527E}"/>
          </ac:spMkLst>
        </pc:spChg>
        <pc:spChg chg="add del mod">
          <ac:chgData name="Clark, Connie" userId="73351e60-ad32-4085-a232-1d9f9b189479" providerId="ADAL" clId="{5F87A5E2-C2A2-4F23-BC8C-28F7F5EA6CA7}" dt="2024-05-23T23:58:24.523" v="31017"/>
          <ac:spMkLst>
            <pc:docMk/>
            <pc:sldMk cId="2897983513" sldId="2147376780"/>
            <ac:spMk id="23" creationId="{513F120A-1FA4-A8CB-1BFF-FF167A56BFFF}"/>
          </ac:spMkLst>
        </pc:spChg>
        <pc:spChg chg="add del mod">
          <ac:chgData name="Clark, Connie" userId="73351e60-ad32-4085-a232-1d9f9b189479" providerId="ADAL" clId="{5F87A5E2-C2A2-4F23-BC8C-28F7F5EA6CA7}" dt="2024-03-25T03:19:21.981" v="3485"/>
          <ac:spMkLst>
            <pc:docMk/>
            <pc:sldMk cId="2897983513" sldId="2147376780"/>
            <ac:spMk id="24" creationId="{82242774-E677-2030-2775-86AB7B3023CA}"/>
          </ac:spMkLst>
        </pc:spChg>
        <pc:spChg chg="add del mod">
          <ac:chgData name="Clark, Connie" userId="73351e60-ad32-4085-a232-1d9f9b189479" providerId="ADAL" clId="{5F87A5E2-C2A2-4F23-BC8C-28F7F5EA6CA7}" dt="2024-05-23T23:58:24.523" v="31017"/>
          <ac:spMkLst>
            <pc:docMk/>
            <pc:sldMk cId="2897983513" sldId="2147376780"/>
            <ac:spMk id="24" creationId="{E696BE94-8D56-C558-2D98-7FC95968EBFB}"/>
          </ac:spMkLst>
        </pc:spChg>
        <pc:spChg chg="add del mod">
          <ac:chgData name="Clark, Connie" userId="73351e60-ad32-4085-a232-1d9f9b189479" providerId="ADAL" clId="{5F87A5E2-C2A2-4F23-BC8C-28F7F5EA6CA7}" dt="2024-03-25T03:19:21.981" v="3485"/>
          <ac:spMkLst>
            <pc:docMk/>
            <pc:sldMk cId="2897983513" sldId="2147376780"/>
            <ac:spMk id="25" creationId="{8FC857FB-F24E-FB4A-2D32-B48C3F7E14A8}"/>
          </ac:spMkLst>
        </pc:spChg>
        <pc:spChg chg="add del mod">
          <ac:chgData name="Clark, Connie" userId="73351e60-ad32-4085-a232-1d9f9b189479" providerId="ADAL" clId="{5F87A5E2-C2A2-4F23-BC8C-28F7F5EA6CA7}" dt="2024-05-23T23:58:24.523" v="31017"/>
          <ac:spMkLst>
            <pc:docMk/>
            <pc:sldMk cId="2897983513" sldId="2147376780"/>
            <ac:spMk id="25" creationId="{C3EFFFED-7704-42BB-C1DD-4AA6CEE98125}"/>
          </ac:spMkLst>
        </pc:spChg>
        <pc:spChg chg="add del mod">
          <ac:chgData name="Clark, Connie" userId="73351e60-ad32-4085-a232-1d9f9b189479" providerId="ADAL" clId="{5F87A5E2-C2A2-4F23-BC8C-28F7F5EA6CA7}" dt="2024-03-25T03:19:21.981" v="3485"/>
          <ac:spMkLst>
            <pc:docMk/>
            <pc:sldMk cId="2897983513" sldId="2147376780"/>
            <ac:spMk id="26" creationId="{57089789-40BF-FD5A-40D6-AA69CD002F59}"/>
          </ac:spMkLst>
        </pc:spChg>
        <pc:spChg chg="add del mod">
          <ac:chgData name="Clark, Connie" userId="73351e60-ad32-4085-a232-1d9f9b189479" providerId="ADAL" clId="{5F87A5E2-C2A2-4F23-BC8C-28F7F5EA6CA7}" dt="2024-05-23T23:58:24.523" v="31017"/>
          <ac:spMkLst>
            <pc:docMk/>
            <pc:sldMk cId="2897983513" sldId="2147376780"/>
            <ac:spMk id="26" creationId="{DB350926-6E87-538D-0EC7-365CD6DDBF69}"/>
          </ac:spMkLst>
        </pc:spChg>
        <pc:spChg chg="add del mod">
          <ac:chgData name="Clark, Connie" userId="73351e60-ad32-4085-a232-1d9f9b189479" providerId="ADAL" clId="{5F87A5E2-C2A2-4F23-BC8C-28F7F5EA6CA7}" dt="2024-03-25T03:19:21.981" v="3485"/>
          <ac:spMkLst>
            <pc:docMk/>
            <pc:sldMk cId="2897983513" sldId="2147376780"/>
            <ac:spMk id="27" creationId="{37620C3A-AF4E-2601-6BD5-1CBB3F38517B}"/>
          </ac:spMkLst>
        </pc:spChg>
        <pc:spChg chg="add del mod">
          <ac:chgData name="Clark, Connie" userId="73351e60-ad32-4085-a232-1d9f9b189479" providerId="ADAL" clId="{5F87A5E2-C2A2-4F23-BC8C-28F7F5EA6CA7}" dt="2024-05-23T23:58:24.523" v="31017"/>
          <ac:spMkLst>
            <pc:docMk/>
            <pc:sldMk cId="2897983513" sldId="2147376780"/>
            <ac:spMk id="27" creationId="{3BB991A1-61E4-0363-225F-CEF56D405121}"/>
          </ac:spMkLst>
        </pc:spChg>
        <pc:spChg chg="add del mod">
          <ac:chgData name="Clark, Connie" userId="73351e60-ad32-4085-a232-1d9f9b189479" providerId="ADAL" clId="{5F87A5E2-C2A2-4F23-BC8C-28F7F5EA6CA7}" dt="2024-03-25T03:19:21.981" v="3485"/>
          <ac:spMkLst>
            <pc:docMk/>
            <pc:sldMk cId="2897983513" sldId="2147376780"/>
            <ac:spMk id="28" creationId="{AE1C73F3-AF6E-A18B-A9D7-CF8729BD44AE}"/>
          </ac:spMkLst>
        </pc:spChg>
        <pc:spChg chg="add del mod">
          <ac:chgData name="Clark, Connie" userId="73351e60-ad32-4085-a232-1d9f9b189479" providerId="ADAL" clId="{5F87A5E2-C2A2-4F23-BC8C-28F7F5EA6CA7}" dt="2024-05-23T23:58:30.422" v="31021"/>
          <ac:spMkLst>
            <pc:docMk/>
            <pc:sldMk cId="2897983513" sldId="2147376780"/>
            <ac:spMk id="28" creationId="{BC459CEE-3C05-ED4E-4D28-91FD211C5AC6}"/>
          </ac:spMkLst>
        </pc:spChg>
        <pc:spChg chg="add del mod">
          <ac:chgData name="Clark, Connie" userId="73351e60-ad32-4085-a232-1d9f9b189479" providerId="ADAL" clId="{5F87A5E2-C2A2-4F23-BC8C-28F7F5EA6CA7}" dt="2024-05-23T23:58:30.422" v="31021"/>
          <ac:spMkLst>
            <pc:docMk/>
            <pc:sldMk cId="2897983513" sldId="2147376780"/>
            <ac:spMk id="29" creationId="{BA115F27-B9E1-E5E3-9004-18813BA6126E}"/>
          </ac:spMkLst>
        </pc:spChg>
        <pc:spChg chg="add del mod">
          <ac:chgData name="Clark, Connie" userId="73351e60-ad32-4085-a232-1d9f9b189479" providerId="ADAL" clId="{5F87A5E2-C2A2-4F23-BC8C-28F7F5EA6CA7}" dt="2024-03-25T03:19:21.981" v="3485"/>
          <ac:spMkLst>
            <pc:docMk/>
            <pc:sldMk cId="2897983513" sldId="2147376780"/>
            <ac:spMk id="29" creationId="{F37AEC2F-8A40-FD92-6432-67879F58B481}"/>
          </ac:spMkLst>
        </pc:spChg>
        <pc:spChg chg="add del mod">
          <ac:chgData name="Clark, Connie" userId="73351e60-ad32-4085-a232-1d9f9b189479" providerId="ADAL" clId="{5F87A5E2-C2A2-4F23-BC8C-28F7F5EA6CA7}" dt="2024-05-23T23:58:30.422" v="31021"/>
          <ac:spMkLst>
            <pc:docMk/>
            <pc:sldMk cId="2897983513" sldId="2147376780"/>
            <ac:spMk id="30" creationId="{7C250BEC-7F75-8F9E-B512-5CDB8B23E309}"/>
          </ac:spMkLst>
        </pc:spChg>
        <pc:spChg chg="add del mod">
          <ac:chgData name="Clark, Connie" userId="73351e60-ad32-4085-a232-1d9f9b189479" providerId="ADAL" clId="{5F87A5E2-C2A2-4F23-BC8C-28F7F5EA6CA7}" dt="2024-03-25T03:19:30.359" v="3490"/>
          <ac:spMkLst>
            <pc:docMk/>
            <pc:sldMk cId="2897983513" sldId="2147376780"/>
            <ac:spMk id="30" creationId="{D4759C3E-BB69-03F5-D790-0B89822DC1E5}"/>
          </ac:spMkLst>
        </pc:spChg>
        <pc:spChg chg="add del mod">
          <ac:chgData name="Clark, Connie" userId="73351e60-ad32-4085-a232-1d9f9b189479" providerId="ADAL" clId="{5F87A5E2-C2A2-4F23-BC8C-28F7F5EA6CA7}" dt="2024-05-23T23:58:30.422" v="31021"/>
          <ac:spMkLst>
            <pc:docMk/>
            <pc:sldMk cId="2897983513" sldId="2147376780"/>
            <ac:spMk id="31" creationId="{7830ABC1-B1EB-42EF-4D3C-77D7D3A4EF5B}"/>
          </ac:spMkLst>
        </pc:spChg>
        <pc:spChg chg="add del mod">
          <ac:chgData name="Clark, Connie" userId="73351e60-ad32-4085-a232-1d9f9b189479" providerId="ADAL" clId="{5F87A5E2-C2A2-4F23-BC8C-28F7F5EA6CA7}" dt="2024-03-25T03:19:30.359" v="3490"/>
          <ac:spMkLst>
            <pc:docMk/>
            <pc:sldMk cId="2897983513" sldId="2147376780"/>
            <ac:spMk id="31" creationId="{EB3200E8-BEB3-411B-F46A-AAC578F4D2B3}"/>
          </ac:spMkLst>
        </pc:spChg>
        <pc:spChg chg="add del mod">
          <ac:chgData name="Clark, Connie" userId="73351e60-ad32-4085-a232-1d9f9b189479" providerId="ADAL" clId="{5F87A5E2-C2A2-4F23-BC8C-28F7F5EA6CA7}" dt="2024-05-23T23:58:30.422" v="31021"/>
          <ac:spMkLst>
            <pc:docMk/>
            <pc:sldMk cId="2897983513" sldId="2147376780"/>
            <ac:spMk id="32" creationId="{D2EE1FBC-FFB7-D9CE-399C-7D5133EC2569}"/>
          </ac:spMkLst>
        </pc:spChg>
        <pc:spChg chg="add del mod">
          <ac:chgData name="Clark, Connie" userId="73351e60-ad32-4085-a232-1d9f9b189479" providerId="ADAL" clId="{5F87A5E2-C2A2-4F23-BC8C-28F7F5EA6CA7}" dt="2024-03-25T03:19:30.359" v="3490"/>
          <ac:spMkLst>
            <pc:docMk/>
            <pc:sldMk cId="2897983513" sldId="2147376780"/>
            <ac:spMk id="32" creationId="{DF413B4C-D4EC-9710-4DE9-91620A27DA71}"/>
          </ac:spMkLst>
        </pc:spChg>
        <pc:spChg chg="add del mod">
          <ac:chgData name="Clark, Connie" userId="73351e60-ad32-4085-a232-1d9f9b189479" providerId="ADAL" clId="{5F87A5E2-C2A2-4F23-BC8C-28F7F5EA6CA7}" dt="2024-03-25T03:19:30.359" v="3490"/>
          <ac:spMkLst>
            <pc:docMk/>
            <pc:sldMk cId="2897983513" sldId="2147376780"/>
            <ac:spMk id="33" creationId="{4B6C95B4-1C91-5B8B-085B-5038AC4BE5E0}"/>
          </ac:spMkLst>
        </pc:spChg>
        <pc:spChg chg="add del mod">
          <ac:chgData name="Clark, Connie" userId="73351e60-ad32-4085-a232-1d9f9b189479" providerId="ADAL" clId="{5F87A5E2-C2A2-4F23-BC8C-28F7F5EA6CA7}" dt="2024-05-23T23:58:30.422" v="31021"/>
          <ac:spMkLst>
            <pc:docMk/>
            <pc:sldMk cId="2897983513" sldId="2147376780"/>
            <ac:spMk id="33" creationId="{B7133B71-0AD9-8B9C-2020-B9CB57276368}"/>
          </ac:spMkLst>
        </pc:spChg>
        <pc:spChg chg="add del mod">
          <ac:chgData name="Clark, Connie" userId="73351e60-ad32-4085-a232-1d9f9b189479" providerId="ADAL" clId="{5F87A5E2-C2A2-4F23-BC8C-28F7F5EA6CA7}" dt="2024-05-23T23:58:30.422" v="31021"/>
          <ac:spMkLst>
            <pc:docMk/>
            <pc:sldMk cId="2897983513" sldId="2147376780"/>
            <ac:spMk id="34" creationId="{2FB7E535-90B8-5FCF-4F74-D67CA8A58DDA}"/>
          </ac:spMkLst>
        </pc:spChg>
        <pc:spChg chg="add del mod">
          <ac:chgData name="Clark, Connie" userId="73351e60-ad32-4085-a232-1d9f9b189479" providerId="ADAL" clId="{5F87A5E2-C2A2-4F23-BC8C-28F7F5EA6CA7}" dt="2024-03-25T03:19:30.359" v="3490"/>
          <ac:spMkLst>
            <pc:docMk/>
            <pc:sldMk cId="2897983513" sldId="2147376780"/>
            <ac:spMk id="34" creationId="{309F226A-1EF3-9B5C-A747-4D2DEB97C4F1}"/>
          </ac:spMkLst>
        </pc:spChg>
        <pc:spChg chg="add del mod">
          <ac:chgData name="Clark, Connie" userId="73351e60-ad32-4085-a232-1d9f9b189479" providerId="ADAL" clId="{5F87A5E2-C2A2-4F23-BC8C-28F7F5EA6CA7}" dt="2024-05-23T23:58:30.422" v="31021"/>
          <ac:spMkLst>
            <pc:docMk/>
            <pc:sldMk cId="2897983513" sldId="2147376780"/>
            <ac:spMk id="35" creationId="{8375E57B-221D-FC5A-3441-AA17DEECB6B3}"/>
          </ac:spMkLst>
        </pc:spChg>
        <pc:spChg chg="add del mod">
          <ac:chgData name="Clark, Connie" userId="73351e60-ad32-4085-a232-1d9f9b189479" providerId="ADAL" clId="{5F87A5E2-C2A2-4F23-BC8C-28F7F5EA6CA7}" dt="2024-03-25T03:19:30.359" v="3490"/>
          <ac:spMkLst>
            <pc:docMk/>
            <pc:sldMk cId="2897983513" sldId="2147376780"/>
            <ac:spMk id="35" creationId="{C7E866A5-07DF-3714-0A29-C79B0315071D}"/>
          </ac:spMkLst>
        </pc:spChg>
        <pc:spChg chg="add del mod">
          <ac:chgData name="Clark, Connie" userId="73351e60-ad32-4085-a232-1d9f9b189479" providerId="ADAL" clId="{5F87A5E2-C2A2-4F23-BC8C-28F7F5EA6CA7}" dt="2024-03-25T03:19:30.359" v="3490"/>
          <ac:spMkLst>
            <pc:docMk/>
            <pc:sldMk cId="2897983513" sldId="2147376780"/>
            <ac:spMk id="36" creationId="{C04C1377-ACDC-65B1-6083-C0E1BB49BEC9}"/>
          </ac:spMkLst>
        </pc:spChg>
        <pc:spChg chg="add del mod">
          <ac:chgData name="Clark, Connie" userId="73351e60-ad32-4085-a232-1d9f9b189479" providerId="ADAL" clId="{5F87A5E2-C2A2-4F23-BC8C-28F7F5EA6CA7}" dt="2024-03-25T03:19:30.359" v="3490"/>
          <ac:spMkLst>
            <pc:docMk/>
            <pc:sldMk cId="2897983513" sldId="2147376780"/>
            <ac:spMk id="37" creationId="{DFA43941-735F-6ED6-6814-0421096CA34F}"/>
          </ac:spMkLst>
        </pc:spChg>
        <pc:spChg chg="add del mod">
          <ac:chgData name="Clark, Connie" userId="73351e60-ad32-4085-a232-1d9f9b189479" providerId="ADAL" clId="{5F87A5E2-C2A2-4F23-BC8C-28F7F5EA6CA7}" dt="2024-05-23T23:58:30.422" v="31021"/>
          <ac:spMkLst>
            <pc:docMk/>
            <pc:sldMk cId="2897983513" sldId="2147376780"/>
            <ac:spMk id="44" creationId="{540485FC-B1D7-5689-D136-2AF383BD93EF}"/>
          </ac:spMkLst>
        </pc:spChg>
        <pc:spChg chg="add del mod">
          <ac:chgData name="Clark, Connie" userId="73351e60-ad32-4085-a232-1d9f9b189479" providerId="ADAL" clId="{5F87A5E2-C2A2-4F23-BC8C-28F7F5EA6CA7}" dt="2024-05-23T23:58:30.422" v="31021"/>
          <ac:spMkLst>
            <pc:docMk/>
            <pc:sldMk cId="2897983513" sldId="2147376780"/>
            <ac:spMk id="45" creationId="{97D35BD1-12DC-751A-D4D1-8986D148DA8F}"/>
          </ac:spMkLst>
        </pc:spChg>
        <pc:spChg chg="add del mod">
          <ac:chgData name="Clark, Connie" userId="73351e60-ad32-4085-a232-1d9f9b189479" providerId="ADAL" clId="{5F87A5E2-C2A2-4F23-BC8C-28F7F5EA6CA7}" dt="2024-05-23T23:58:30.422" v="31021"/>
          <ac:spMkLst>
            <pc:docMk/>
            <pc:sldMk cId="2897983513" sldId="2147376780"/>
            <ac:spMk id="46" creationId="{049DB9DB-98F0-F1B5-70DC-EA8243E84252}"/>
          </ac:spMkLst>
        </pc:spChg>
        <pc:spChg chg="add del mod">
          <ac:chgData name="Clark, Connie" userId="73351e60-ad32-4085-a232-1d9f9b189479" providerId="ADAL" clId="{5F87A5E2-C2A2-4F23-BC8C-28F7F5EA6CA7}" dt="2024-03-25T03:19:30.359" v="3490"/>
          <ac:spMkLst>
            <pc:docMk/>
            <pc:sldMk cId="2897983513" sldId="2147376780"/>
            <ac:spMk id="46" creationId="{74C58A0A-46CC-FBD2-9C20-61B872390BB8}"/>
          </ac:spMkLst>
        </pc:spChg>
        <pc:spChg chg="add del mod">
          <ac:chgData name="Clark, Connie" userId="73351e60-ad32-4085-a232-1d9f9b189479" providerId="ADAL" clId="{5F87A5E2-C2A2-4F23-BC8C-28F7F5EA6CA7}" dt="2024-05-23T23:58:30.422" v="31021"/>
          <ac:spMkLst>
            <pc:docMk/>
            <pc:sldMk cId="2897983513" sldId="2147376780"/>
            <ac:spMk id="47" creationId="{6FA2BB7B-5BA6-8CB1-31F3-D0E4F0EE726C}"/>
          </ac:spMkLst>
        </pc:spChg>
        <pc:spChg chg="add del mod">
          <ac:chgData name="Clark, Connie" userId="73351e60-ad32-4085-a232-1d9f9b189479" providerId="ADAL" clId="{5F87A5E2-C2A2-4F23-BC8C-28F7F5EA6CA7}" dt="2024-03-25T03:19:30.359" v="3490"/>
          <ac:spMkLst>
            <pc:docMk/>
            <pc:sldMk cId="2897983513" sldId="2147376780"/>
            <ac:spMk id="47" creationId="{95B96304-0F2C-87EE-AA1F-D61AF45C0240}"/>
          </ac:spMkLst>
        </pc:spChg>
        <pc:spChg chg="add del mod">
          <ac:chgData name="Clark, Connie" userId="73351e60-ad32-4085-a232-1d9f9b189479" providerId="ADAL" clId="{5F87A5E2-C2A2-4F23-BC8C-28F7F5EA6CA7}" dt="2024-05-23T23:58:30.422" v="31021"/>
          <ac:spMkLst>
            <pc:docMk/>
            <pc:sldMk cId="2897983513" sldId="2147376780"/>
            <ac:spMk id="48" creationId="{06CC6450-3DD2-A04B-6E1E-08744A590560}"/>
          </ac:spMkLst>
        </pc:spChg>
        <pc:spChg chg="add del mod">
          <ac:chgData name="Clark, Connie" userId="73351e60-ad32-4085-a232-1d9f9b189479" providerId="ADAL" clId="{5F87A5E2-C2A2-4F23-BC8C-28F7F5EA6CA7}" dt="2024-03-25T03:19:30.359" v="3490"/>
          <ac:spMkLst>
            <pc:docMk/>
            <pc:sldMk cId="2897983513" sldId="2147376780"/>
            <ac:spMk id="48" creationId="{0DE11B29-ED65-FA2B-7E0D-A62416EED8D0}"/>
          </ac:spMkLst>
        </pc:spChg>
        <pc:spChg chg="add del mod">
          <ac:chgData name="Clark, Connie" userId="73351e60-ad32-4085-a232-1d9f9b189479" providerId="ADAL" clId="{5F87A5E2-C2A2-4F23-BC8C-28F7F5EA6CA7}" dt="2024-05-23T23:58:30.422" v="31021"/>
          <ac:spMkLst>
            <pc:docMk/>
            <pc:sldMk cId="2897983513" sldId="2147376780"/>
            <ac:spMk id="49" creationId="{911C3E98-E0A5-B15B-46E0-4E9FAE467B5C}"/>
          </ac:spMkLst>
        </pc:spChg>
        <pc:spChg chg="add del mod">
          <ac:chgData name="Clark, Connie" userId="73351e60-ad32-4085-a232-1d9f9b189479" providerId="ADAL" clId="{5F87A5E2-C2A2-4F23-BC8C-28F7F5EA6CA7}" dt="2024-03-25T03:19:30.359" v="3490"/>
          <ac:spMkLst>
            <pc:docMk/>
            <pc:sldMk cId="2897983513" sldId="2147376780"/>
            <ac:spMk id="49" creationId="{D5D88E4F-45DE-0397-5333-4E87308874A2}"/>
          </ac:spMkLst>
        </pc:spChg>
        <pc:spChg chg="add del mod">
          <ac:chgData name="Clark, Connie" userId="73351e60-ad32-4085-a232-1d9f9b189479" providerId="ADAL" clId="{5F87A5E2-C2A2-4F23-BC8C-28F7F5EA6CA7}" dt="2024-03-25T03:19:30.359" v="3490"/>
          <ac:spMkLst>
            <pc:docMk/>
            <pc:sldMk cId="2897983513" sldId="2147376780"/>
            <ac:spMk id="50" creationId="{36284FB0-A7E0-36A0-18DA-7175388C8B72}"/>
          </ac:spMkLst>
        </pc:spChg>
        <pc:spChg chg="add del mod">
          <ac:chgData name="Clark, Connie" userId="73351e60-ad32-4085-a232-1d9f9b189479" providerId="ADAL" clId="{5F87A5E2-C2A2-4F23-BC8C-28F7F5EA6CA7}" dt="2024-05-23T23:58:30.422" v="31021"/>
          <ac:spMkLst>
            <pc:docMk/>
            <pc:sldMk cId="2897983513" sldId="2147376780"/>
            <ac:spMk id="50" creationId="{8EDD2EA5-860A-E326-A3EB-0BA6000683CC}"/>
          </ac:spMkLst>
        </pc:spChg>
        <pc:spChg chg="add del mod">
          <ac:chgData name="Clark, Connie" userId="73351e60-ad32-4085-a232-1d9f9b189479" providerId="ADAL" clId="{5F87A5E2-C2A2-4F23-BC8C-28F7F5EA6CA7}" dt="2024-05-23T23:58:54.540" v="31024"/>
          <ac:spMkLst>
            <pc:docMk/>
            <pc:sldMk cId="2897983513" sldId="2147376780"/>
            <ac:spMk id="51" creationId="{156B5036-09E0-D243-94CF-906B9EC4AE93}"/>
          </ac:spMkLst>
        </pc:spChg>
        <pc:spChg chg="add del mod">
          <ac:chgData name="Clark, Connie" userId="73351e60-ad32-4085-a232-1d9f9b189479" providerId="ADAL" clId="{5F87A5E2-C2A2-4F23-BC8C-28F7F5EA6CA7}" dt="2024-03-25T03:19:30.359" v="3490"/>
          <ac:spMkLst>
            <pc:docMk/>
            <pc:sldMk cId="2897983513" sldId="2147376780"/>
            <ac:spMk id="51" creationId="{96F04FF9-6B86-1BEA-A7E2-1F356B5E3450}"/>
          </ac:spMkLst>
        </pc:spChg>
        <pc:spChg chg="add del mod">
          <ac:chgData name="Clark, Connie" userId="73351e60-ad32-4085-a232-1d9f9b189479" providerId="ADAL" clId="{5F87A5E2-C2A2-4F23-BC8C-28F7F5EA6CA7}" dt="2024-05-23T23:58:54.540" v="31024"/>
          <ac:spMkLst>
            <pc:docMk/>
            <pc:sldMk cId="2897983513" sldId="2147376780"/>
            <ac:spMk id="53" creationId="{311EB2D8-64E8-D77F-7E14-F140B4C0249A}"/>
          </ac:spMkLst>
        </pc:spChg>
        <pc:spChg chg="add del mod">
          <ac:chgData name="Clark, Connie" userId="73351e60-ad32-4085-a232-1d9f9b189479" providerId="ADAL" clId="{5F87A5E2-C2A2-4F23-BC8C-28F7F5EA6CA7}" dt="2024-05-23T23:58:54.540" v="31024"/>
          <ac:spMkLst>
            <pc:docMk/>
            <pc:sldMk cId="2897983513" sldId="2147376780"/>
            <ac:spMk id="54" creationId="{434934D2-15CE-AD5D-F206-1EE54B566D8C}"/>
          </ac:spMkLst>
        </pc:spChg>
        <pc:spChg chg="add del mod">
          <ac:chgData name="Clark, Connie" userId="73351e60-ad32-4085-a232-1d9f9b189479" providerId="ADAL" clId="{5F87A5E2-C2A2-4F23-BC8C-28F7F5EA6CA7}" dt="2024-05-23T23:58:54.540" v="31024"/>
          <ac:spMkLst>
            <pc:docMk/>
            <pc:sldMk cId="2897983513" sldId="2147376780"/>
            <ac:spMk id="55" creationId="{B97BC51F-BDEE-4EC8-ED8E-9A9BFD24620F}"/>
          </ac:spMkLst>
        </pc:spChg>
        <pc:spChg chg="add del mod">
          <ac:chgData name="Clark, Connie" userId="73351e60-ad32-4085-a232-1d9f9b189479" providerId="ADAL" clId="{5F87A5E2-C2A2-4F23-BC8C-28F7F5EA6CA7}" dt="2024-05-23T23:58:54.540" v="31024"/>
          <ac:spMkLst>
            <pc:docMk/>
            <pc:sldMk cId="2897983513" sldId="2147376780"/>
            <ac:spMk id="56" creationId="{CC10B82A-4B97-55A3-DDDD-5206F09DF1F6}"/>
          </ac:spMkLst>
        </pc:spChg>
        <pc:spChg chg="add del mod">
          <ac:chgData name="Clark, Connie" userId="73351e60-ad32-4085-a232-1d9f9b189479" providerId="ADAL" clId="{5F87A5E2-C2A2-4F23-BC8C-28F7F5EA6CA7}" dt="2024-05-23T23:58:54.540" v="31024"/>
          <ac:spMkLst>
            <pc:docMk/>
            <pc:sldMk cId="2897983513" sldId="2147376780"/>
            <ac:spMk id="57" creationId="{19A28110-B0D9-A363-DD20-967A7208623F}"/>
          </ac:spMkLst>
        </pc:spChg>
        <pc:spChg chg="add del mod">
          <ac:chgData name="Clark, Connie" userId="73351e60-ad32-4085-a232-1d9f9b189479" providerId="ADAL" clId="{5F87A5E2-C2A2-4F23-BC8C-28F7F5EA6CA7}" dt="2024-05-23T23:58:54.540" v="31024"/>
          <ac:spMkLst>
            <pc:docMk/>
            <pc:sldMk cId="2897983513" sldId="2147376780"/>
            <ac:spMk id="58" creationId="{C8D22E58-6562-9401-F8B0-73A9F439C706}"/>
          </ac:spMkLst>
        </pc:spChg>
        <pc:spChg chg="add del mod">
          <ac:chgData name="Clark, Connie" userId="73351e60-ad32-4085-a232-1d9f9b189479" providerId="ADAL" clId="{5F87A5E2-C2A2-4F23-BC8C-28F7F5EA6CA7}" dt="2024-05-23T23:58:54.540" v="31024"/>
          <ac:spMkLst>
            <pc:docMk/>
            <pc:sldMk cId="2897983513" sldId="2147376780"/>
            <ac:spMk id="59" creationId="{519B1D29-0A90-5EBC-6B8E-A108E2B16207}"/>
          </ac:spMkLst>
        </pc:spChg>
        <pc:spChg chg="add del mod">
          <ac:chgData name="Clark, Connie" userId="73351e60-ad32-4085-a232-1d9f9b189479" providerId="ADAL" clId="{5F87A5E2-C2A2-4F23-BC8C-28F7F5EA6CA7}" dt="2024-05-23T23:58:54.540" v="31024"/>
          <ac:spMkLst>
            <pc:docMk/>
            <pc:sldMk cId="2897983513" sldId="2147376780"/>
            <ac:spMk id="68" creationId="{8AF10120-749A-7A1C-EC32-ED84973A942C}"/>
          </ac:spMkLst>
        </pc:spChg>
        <pc:spChg chg="add del mod">
          <ac:chgData name="Clark, Connie" userId="73351e60-ad32-4085-a232-1d9f9b189479" providerId="ADAL" clId="{5F87A5E2-C2A2-4F23-BC8C-28F7F5EA6CA7}" dt="2024-05-23T23:58:54.540" v="31024"/>
          <ac:spMkLst>
            <pc:docMk/>
            <pc:sldMk cId="2897983513" sldId="2147376780"/>
            <ac:spMk id="69" creationId="{CC09354B-C00F-F3EF-FA22-4954B985C5AE}"/>
          </ac:spMkLst>
        </pc:spChg>
        <pc:spChg chg="add del mod">
          <ac:chgData name="Clark, Connie" userId="73351e60-ad32-4085-a232-1d9f9b189479" providerId="ADAL" clId="{5F87A5E2-C2A2-4F23-BC8C-28F7F5EA6CA7}" dt="2024-05-23T23:58:54.540" v="31024"/>
          <ac:spMkLst>
            <pc:docMk/>
            <pc:sldMk cId="2897983513" sldId="2147376780"/>
            <ac:spMk id="70" creationId="{D82DA50F-ECCA-F1A4-BB65-115ECD534AC2}"/>
          </ac:spMkLst>
        </pc:spChg>
        <pc:spChg chg="add del mod">
          <ac:chgData name="Clark, Connie" userId="73351e60-ad32-4085-a232-1d9f9b189479" providerId="ADAL" clId="{5F87A5E2-C2A2-4F23-BC8C-28F7F5EA6CA7}" dt="2024-05-23T23:58:54.540" v="31024"/>
          <ac:spMkLst>
            <pc:docMk/>
            <pc:sldMk cId="2897983513" sldId="2147376780"/>
            <ac:spMk id="71" creationId="{CCECC36A-499F-80CB-6CD9-F129A55EF287}"/>
          </ac:spMkLst>
        </pc:spChg>
        <pc:spChg chg="add del mod">
          <ac:chgData name="Clark, Connie" userId="73351e60-ad32-4085-a232-1d9f9b189479" providerId="ADAL" clId="{5F87A5E2-C2A2-4F23-BC8C-28F7F5EA6CA7}" dt="2024-05-23T23:58:54.540" v="31024"/>
          <ac:spMkLst>
            <pc:docMk/>
            <pc:sldMk cId="2897983513" sldId="2147376780"/>
            <ac:spMk id="72" creationId="{5CD0FD35-74EE-1CA9-3CB5-3F1A2C728600}"/>
          </ac:spMkLst>
        </pc:spChg>
        <pc:spChg chg="add del mod">
          <ac:chgData name="Clark, Connie" userId="73351e60-ad32-4085-a232-1d9f9b189479" providerId="ADAL" clId="{5F87A5E2-C2A2-4F23-BC8C-28F7F5EA6CA7}" dt="2024-05-23T23:58:54.540" v="31024"/>
          <ac:spMkLst>
            <pc:docMk/>
            <pc:sldMk cId="2897983513" sldId="2147376780"/>
            <ac:spMk id="73" creationId="{E4BA420F-2934-E97B-D86C-991B9F6D041F}"/>
          </ac:spMkLst>
        </pc:spChg>
        <pc:spChg chg="add del mod">
          <ac:chgData name="Clark, Connie" userId="73351e60-ad32-4085-a232-1d9f9b189479" providerId="ADAL" clId="{5F87A5E2-C2A2-4F23-BC8C-28F7F5EA6CA7}" dt="2024-05-23T23:58:54.540" v="31024"/>
          <ac:spMkLst>
            <pc:docMk/>
            <pc:sldMk cId="2897983513" sldId="2147376780"/>
            <ac:spMk id="74" creationId="{176829F2-37CF-1EA2-6599-83BD64970DD6}"/>
          </ac:spMkLst>
        </pc:spChg>
        <pc:spChg chg="add mod">
          <ac:chgData name="Clark, Connie" userId="73351e60-ad32-4085-a232-1d9f9b189479" providerId="ADAL" clId="{5F87A5E2-C2A2-4F23-BC8C-28F7F5EA6CA7}" dt="2024-05-23T23:58:54.805" v="31026" actId="27636"/>
          <ac:spMkLst>
            <pc:docMk/>
            <pc:sldMk cId="2897983513" sldId="2147376780"/>
            <ac:spMk id="75" creationId="{C36F4146-8D4A-959A-D205-189B571CE68F}"/>
          </ac:spMkLst>
        </pc:spChg>
        <pc:spChg chg="add mod">
          <ac:chgData name="Clark, Connie" userId="73351e60-ad32-4085-a232-1d9f9b189479" providerId="ADAL" clId="{5F87A5E2-C2A2-4F23-BC8C-28F7F5EA6CA7}" dt="2024-05-23T23:58:54.805" v="31026" actId="27636"/>
          <ac:spMkLst>
            <pc:docMk/>
            <pc:sldMk cId="2897983513" sldId="2147376780"/>
            <ac:spMk id="77" creationId="{95E18084-0E0E-9677-79EA-0213442D1969}"/>
          </ac:spMkLst>
        </pc:spChg>
        <pc:spChg chg="add mod">
          <ac:chgData name="Clark, Connie" userId="73351e60-ad32-4085-a232-1d9f9b189479" providerId="ADAL" clId="{5F87A5E2-C2A2-4F23-BC8C-28F7F5EA6CA7}" dt="2024-05-23T23:58:54.805" v="31026" actId="27636"/>
          <ac:spMkLst>
            <pc:docMk/>
            <pc:sldMk cId="2897983513" sldId="2147376780"/>
            <ac:spMk id="78" creationId="{542EEBC4-2CB1-B147-F5BE-671DF4095DFD}"/>
          </ac:spMkLst>
        </pc:spChg>
        <pc:spChg chg="add mod">
          <ac:chgData name="Clark, Connie" userId="73351e60-ad32-4085-a232-1d9f9b189479" providerId="ADAL" clId="{5F87A5E2-C2A2-4F23-BC8C-28F7F5EA6CA7}" dt="2024-05-23T23:58:54.805" v="31026" actId="27636"/>
          <ac:spMkLst>
            <pc:docMk/>
            <pc:sldMk cId="2897983513" sldId="2147376780"/>
            <ac:spMk id="79" creationId="{5156EDC4-B985-FCB0-B5F9-0A35D148A3B4}"/>
          </ac:spMkLst>
        </pc:spChg>
        <pc:spChg chg="add mod">
          <ac:chgData name="Clark, Connie" userId="73351e60-ad32-4085-a232-1d9f9b189479" providerId="ADAL" clId="{5F87A5E2-C2A2-4F23-BC8C-28F7F5EA6CA7}" dt="2024-05-23T23:58:54.805" v="31026" actId="27636"/>
          <ac:spMkLst>
            <pc:docMk/>
            <pc:sldMk cId="2897983513" sldId="2147376780"/>
            <ac:spMk id="80" creationId="{2301B79C-127E-1046-26E2-05FFDE9D5628}"/>
          </ac:spMkLst>
        </pc:spChg>
        <pc:spChg chg="add mod">
          <ac:chgData name="Clark, Connie" userId="73351e60-ad32-4085-a232-1d9f9b189479" providerId="ADAL" clId="{5F87A5E2-C2A2-4F23-BC8C-28F7F5EA6CA7}" dt="2024-05-23T23:58:54.805" v="31026" actId="27636"/>
          <ac:spMkLst>
            <pc:docMk/>
            <pc:sldMk cId="2897983513" sldId="2147376780"/>
            <ac:spMk id="81" creationId="{05091B2E-EF94-C3DB-9605-F0ECF9145ECC}"/>
          </ac:spMkLst>
        </pc:spChg>
        <pc:spChg chg="add mod">
          <ac:chgData name="Clark, Connie" userId="73351e60-ad32-4085-a232-1d9f9b189479" providerId="ADAL" clId="{5F87A5E2-C2A2-4F23-BC8C-28F7F5EA6CA7}" dt="2024-05-23T23:58:54.805" v="31026" actId="27636"/>
          <ac:spMkLst>
            <pc:docMk/>
            <pc:sldMk cId="2897983513" sldId="2147376780"/>
            <ac:spMk id="82" creationId="{B99948D3-CD47-2916-17B3-C005FFA51537}"/>
          </ac:spMkLst>
        </pc:spChg>
        <pc:spChg chg="add mod">
          <ac:chgData name="Clark, Connie" userId="73351e60-ad32-4085-a232-1d9f9b189479" providerId="ADAL" clId="{5F87A5E2-C2A2-4F23-BC8C-28F7F5EA6CA7}" dt="2024-05-23T23:58:54.805" v="31026" actId="27636"/>
          <ac:spMkLst>
            <pc:docMk/>
            <pc:sldMk cId="2897983513" sldId="2147376780"/>
            <ac:spMk id="83" creationId="{74C8AD1C-4833-7C78-670C-1029197A0076}"/>
          </ac:spMkLst>
        </pc:spChg>
        <pc:spChg chg="add mod">
          <ac:chgData name="Clark, Connie" userId="73351e60-ad32-4085-a232-1d9f9b189479" providerId="ADAL" clId="{5F87A5E2-C2A2-4F23-BC8C-28F7F5EA6CA7}" dt="2024-05-23T23:58:54.805" v="31026" actId="27636"/>
          <ac:spMkLst>
            <pc:docMk/>
            <pc:sldMk cId="2897983513" sldId="2147376780"/>
            <ac:spMk id="92" creationId="{64D4CBC6-0C6F-DA54-E904-8A78A8C07B65}"/>
          </ac:spMkLst>
        </pc:spChg>
        <pc:spChg chg="add mod">
          <ac:chgData name="Clark, Connie" userId="73351e60-ad32-4085-a232-1d9f9b189479" providerId="ADAL" clId="{5F87A5E2-C2A2-4F23-BC8C-28F7F5EA6CA7}" dt="2024-05-23T23:58:54.805" v="31026" actId="27636"/>
          <ac:spMkLst>
            <pc:docMk/>
            <pc:sldMk cId="2897983513" sldId="2147376780"/>
            <ac:spMk id="93" creationId="{1346A6EF-02C3-BCC6-950C-9B16D9646BA6}"/>
          </ac:spMkLst>
        </pc:spChg>
        <pc:spChg chg="add mod">
          <ac:chgData name="Clark, Connie" userId="73351e60-ad32-4085-a232-1d9f9b189479" providerId="ADAL" clId="{5F87A5E2-C2A2-4F23-BC8C-28F7F5EA6CA7}" dt="2024-05-23T23:58:54.805" v="31026" actId="27636"/>
          <ac:spMkLst>
            <pc:docMk/>
            <pc:sldMk cId="2897983513" sldId="2147376780"/>
            <ac:spMk id="94" creationId="{00D3B2B7-85EB-2A07-05B1-D7E3127FD2CB}"/>
          </ac:spMkLst>
        </pc:spChg>
        <pc:spChg chg="add mod">
          <ac:chgData name="Clark, Connie" userId="73351e60-ad32-4085-a232-1d9f9b189479" providerId="ADAL" clId="{5F87A5E2-C2A2-4F23-BC8C-28F7F5EA6CA7}" dt="2024-05-23T23:58:54.805" v="31026" actId="27636"/>
          <ac:spMkLst>
            <pc:docMk/>
            <pc:sldMk cId="2897983513" sldId="2147376780"/>
            <ac:spMk id="95" creationId="{DEF5757D-AD00-8CC4-DFD5-6A9616D90116}"/>
          </ac:spMkLst>
        </pc:spChg>
        <pc:spChg chg="add mod">
          <ac:chgData name="Clark, Connie" userId="73351e60-ad32-4085-a232-1d9f9b189479" providerId="ADAL" clId="{5F87A5E2-C2A2-4F23-BC8C-28F7F5EA6CA7}" dt="2024-05-23T23:58:54.805" v="31026" actId="27636"/>
          <ac:spMkLst>
            <pc:docMk/>
            <pc:sldMk cId="2897983513" sldId="2147376780"/>
            <ac:spMk id="96" creationId="{8C742D8E-0FF2-6E19-D2F4-D574CC218D6C}"/>
          </ac:spMkLst>
        </pc:spChg>
        <pc:spChg chg="add mod">
          <ac:chgData name="Clark, Connie" userId="73351e60-ad32-4085-a232-1d9f9b189479" providerId="ADAL" clId="{5F87A5E2-C2A2-4F23-BC8C-28F7F5EA6CA7}" dt="2024-05-23T23:58:54.805" v="31026" actId="27636"/>
          <ac:spMkLst>
            <pc:docMk/>
            <pc:sldMk cId="2897983513" sldId="2147376780"/>
            <ac:spMk id="97" creationId="{B7893CD6-075E-97B7-F6DC-0783B8955A91}"/>
          </ac:spMkLst>
        </pc:spChg>
        <pc:spChg chg="add mod">
          <ac:chgData name="Clark, Connie" userId="73351e60-ad32-4085-a232-1d9f9b189479" providerId="ADAL" clId="{5F87A5E2-C2A2-4F23-BC8C-28F7F5EA6CA7}" dt="2024-05-23T23:58:54.805" v="31026" actId="27636"/>
          <ac:spMkLst>
            <pc:docMk/>
            <pc:sldMk cId="2897983513" sldId="2147376780"/>
            <ac:spMk id="98" creationId="{F0663D0E-EB68-BF6B-175D-465AE48BBD72}"/>
          </ac:spMkLst>
        </pc:spChg>
        <pc:graphicFrameChg chg="add del mod">
          <ac:chgData name="Clark, Connie" userId="73351e60-ad32-4085-a232-1d9f9b189479" providerId="ADAL" clId="{5F87A5E2-C2A2-4F23-BC8C-28F7F5EA6CA7}" dt="2024-05-23T23:58:54.540" v="31024"/>
          <ac:graphicFrameMkLst>
            <pc:docMk/>
            <pc:sldMk cId="2897983513" sldId="2147376780"/>
            <ac:graphicFrameMk id="52" creationId="{8C4CCCED-80E8-2E88-B5A7-FF857B7AF7E0}"/>
          </ac:graphicFrameMkLst>
        </pc:graphicFrameChg>
        <pc:graphicFrameChg chg="add mod">
          <ac:chgData name="Clark, Connie" userId="73351e60-ad32-4085-a232-1d9f9b189479" providerId="ADAL" clId="{5F87A5E2-C2A2-4F23-BC8C-28F7F5EA6CA7}" dt="2024-05-23T23:58:54.805" v="31026" actId="27636"/>
          <ac:graphicFrameMkLst>
            <pc:docMk/>
            <pc:sldMk cId="2897983513" sldId="2147376780"/>
            <ac:graphicFrameMk id="76" creationId="{80E1AD3C-1A4F-E577-F4AE-6BDC7437F52D}"/>
          </ac:graphicFrameMkLst>
        </pc:graphicFrameChg>
        <pc:picChg chg="del">
          <ac:chgData name="Clark, Connie" userId="73351e60-ad32-4085-a232-1d9f9b189479" providerId="ADAL" clId="{5F87A5E2-C2A2-4F23-BC8C-28F7F5EA6CA7}" dt="2024-03-25T00:11:16.227" v="134" actId="478"/>
          <ac:picMkLst>
            <pc:docMk/>
            <pc:sldMk cId="2897983513" sldId="2147376780"/>
            <ac:picMk id="8" creationId="{0279D2A0-4078-433D-7EDF-D4697D229A31}"/>
          </ac:picMkLst>
        </pc:picChg>
        <pc:cxnChg chg="add del mod">
          <ac:chgData name="Clark, Connie" userId="73351e60-ad32-4085-a232-1d9f9b189479" providerId="ADAL" clId="{5F87A5E2-C2A2-4F23-BC8C-28F7F5EA6CA7}" dt="2024-05-23T23:58:24.523" v="31017"/>
          <ac:cxnSpMkLst>
            <pc:docMk/>
            <pc:sldMk cId="2897983513" sldId="2147376780"/>
            <ac:cxnSpMk id="13" creationId="{0A11847D-6096-114C-65B1-16B4AD442573}"/>
          </ac:cxnSpMkLst>
        </pc:cxnChg>
        <pc:cxnChg chg="add del mod">
          <ac:chgData name="Clark, Connie" userId="73351e60-ad32-4085-a232-1d9f9b189479" providerId="ADAL" clId="{5F87A5E2-C2A2-4F23-BC8C-28F7F5EA6CA7}" dt="2024-05-23T23:58:24.523" v="31017"/>
          <ac:cxnSpMkLst>
            <pc:docMk/>
            <pc:sldMk cId="2897983513" sldId="2147376780"/>
            <ac:cxnSpMk id="14" creationId="{38DCD44E-B91E-90C5-7DA7-6E7EC6AD1E87}"/>
          </ac:cxnSpMkLst>
        </pc:cxnChg>
        <pc:cxnChg chg="add del mod">
          <ac:chgData name="Clark, Connie" userId="73351e60-ad32-4085-a232-1d9f9b189479" providerId="ADAL" clId="{5F87A5E2-C2A2-4F23-BC8C-28F7F5EA6CA7}" dt="2024-05-23T23:58:24.523" v="31017"/>
          <ac:cxnSpMkLst>
            <pc:docMk/>
            <pc:sldMk cId="2897983513" sldId="2147376780"/>
            <ac:cxnSpMk id="15" creationId="{5DCBEB88-BAA6-AA28-4A97-FC729225F8B1}"/>
          </ac:cxnSpMkLst>
        </pc:cxnChg>
        <pc:cxnChg chg="add del mod">
          <ac:chgData name="Clark, Connie" userId="73351e60-ad32-4085-a232-1d9f9b189479" providerId="ADAL" clId="{5F87A5E2-C2A2-4F23-BC8C-28F7F5EA6CA7}" dt="2024-03-25T03:19:21.981" v="3485"/>
          <ac:cxnSpMkLst>
            <pc:docMk/>
            <pc:sldMk cId="2897983513" sldId="2147376780"/>
            <ac:cxnSpMk id="16" creationId="{BDE9D958-AE87-E748-7D88-9D2DDCD1B042}"/>
          </ac:cxnSpMkLst>
        </pc:cxnChg>
        <pc:cxnChg chg="add del mod">
          <ac:chgData name="Clark, Connie" userId="73351e60-ad32-4085-a232-1d9f9b189479" providerId="ADAL" clId="{5F87A5E2-C2A2-4F23-BC8C-28F7F5EA6CA7}" dt="2024-05-23T23:58:24.523" v="31017"/>
          <ac:cxnSpMkLst>
            <pc:docMk/>
            <pc:sldMk cId="2897983513" sldId="2147376780"/>
            <ac:cxnSpMk id="16" creationId="{FE656D8B-C4E7-8214-EDB8-F4DF0CFB35B3}"/>
          </ac:cxnSpMkLst>
        </pc:cxnChg>
        <pc:cxnChg chg="add del mod">
          <ac:chgData name="Clark, Connie" userId="73351e60-ad32-4085-a232-1d9f9b189479" providerId="ADAL" clId="{5F87A5E2-C2A2-4F23-BC8C-28F7F5EA6CA7}" dt="2024-03-25T03:19:21.981" v="3485"/>
          <ac:cxnSpMkLst>
            <pc:docMk/>
            <pc:sldMk cId="2897983513" sldId="2147376780"/>
            <ac:cxnSpMk id="17" creationId="{3860629B-56AF-A2D2-9CA1-CD74BEBD6365}"/>
          </ac:cxnSpMkLst>
        </pc:cxnChg>
        <pc:cxnChg chg="add del mod">
          <ac:chgData name="Clark, Connie" userId="73351e60-ad32-4085-a232-1d9f9b189479" providerId="ADAL" clId="{5F87A5E2-C2A2-4F23-BC8C-28F7F5EA6CA7}" dt="2024-05-23T23:58:24.523" v="31017"/>
          <ac:cxnSpMkLst>
            <pc:docMk/>
            <pc:sldMk cId="2897983513" sldId="2147376780"/>
            <ac:cxnSpMk id="17" creationId="{E0880AC5-BA9B-A4CD-CC99-ACBC7E383422}"/>
          </ac:cxnSpMkLst>
        </pc:cxnChg>
        <pc:cxnChg chg="add del mod">
          <ac:chgData name="Clark, Connie" userId="73351e60-ad32-4085-a232-1d9f9b189479" providerId="ADAL" clId="{5F87A5E2-C2A2-4F23-BC8C-28F7F5EA6CA7}" dt="2024-03-25T03:19:21.981" v="3485"/>
          <ac:cxnSpMkLst>
            <pc:docMk/>
            <pc:sldMk cId="2897983513" sldId="2147376780"/>
            <ac:cxnSpMk id="18" creationId="{5005567C-B40D-8363-4C1F-36DBB21494DF}"/>
          </ac:cxnSpMkLst>
        </pc:cxnChg>
        <pc:cxnChg chg="add del mod">
          <ac:chgData name="Clark, Connie" userId="73351e60-ad32-4085-a232-1d9f9b189479" providerId="ADAL" clId="{5F87A5E2-C2A2-4F23-BC8C-28F7F5EA6CA7}" dt="2024-05-23T23:58:24.523" v="31017"/>
          <ac:cxnSpMkLst>
            <pc:docMk/>
            <pc:sldMk cId="2897983513" sldId="2147376780"/>
            <ac:cxnSpMk id="18" creationId="{EC11A0DA-5F6D-8CEF-2A01-68C3EA23DDB1}"/>
          </ac:cxnSpMkLst>
        </pc:cxnChg>
        <pc:cxnChg chg="add del mod">
          <ac:chgData name="Clark, Connie" userId="73351e60-ad32-4085-a232-1d9f9b189479" providerId="ADAL" clId="{5F87A5E2-C2A2-4F23-BC8C-28F7F5EA6CA7}" dt="2024-03-25T03:19:21.981" v="3485"/>
          <ac:cxnSpMkLst>
            <pc:docMk/>
            <pc:sldMk cId="2897983513" sldId="2147376780"/>
            <ac:cxnSpMk id="19" creationId="{5F8E9A32-9961-965D-FFE3-7E748CE99F1F}"/>
          </ac:cxnSpMkLst>
        </pc:cxnChg>
        <pc:cxnChg chg="add del mod">
          <ac:chgData name="Clark, Connie" userId="73351e60-ad32-4085-a232-1d9f9b189479" providerId="ADAL" clId="{5F87A5E2-C2A2-4F23-BC8C-28F7F5EA6CA7}" dt="2024-05-23T23:58:24.523" v="31017"/>
          <ac:cxnSpMkLst>
            <pc:docMk/>
            <pc:sldMk cId="2897983513" sldId="2147376780"/>
            <ac:cxnSpMk id="19" creationId="{B9B7BCC6-04B8-0FBB-B25C-4C8F42CA081A}"/>
          </ac:cxnSpMkLst>
        </pc:cxnChg>
        <pc:cxnChg chg="add del mod">
          <ac:chgData name="Clark, Connie" userId="73351e60-ad32-4085-a232-1d9f9b189479" providerId="ADAL" clId="{5F87A5E2-C2A2-4F23-BC8C-28F7F5EA6CA7}" dt="2024-05-23T23:58:24.523" v="31017"/>
          <ac:cxnSpMkLst>
            <pc:docMk/>
            <pc:sldMk cId="2897983513" sldId="2147376780"/>
            <ac:cxnSpMk id="20" creationId="{4D5A33BC-6822-9113-F944-87B688A6EBAA}"/>
          </ac:cxnSpMkLst>
        </pc:cxnChg>
        <pc:cxnChg chg="add del mod">
          <ac:chgData name="Clark, Connie" userId="73351e60-ad32-4085-a232-1d9f9b189479" providerId="ADAL" clId="{5F87A5E2-C2A2-4F23-BC8C-28F7F5EA6CA7}" dt="2024-03-25T03:19:21.981" v="3485"/>
          <ac:cxnSpMkLst>
            <pc:docMk/>
            <pc:sldMk cId="2897983513" sldId="2147376780"/>
            <ac:cxnSpMk id="20" creationId="{D8FD53B1-483F-7F5A-3065-2B56AE0046B0}"/>
          </ac:cxnSpMkLst>
        </pc:cxnChg>
        <pc:cxnChg chg="add del mod">
          <ac:chgData name="Clark, Connie" userId="73351e60-ad32-4085-a232-1d9f9b189479" providerId="ADAL" clId="{5F87A5E2-C2A2-4F23-BC8C-28F7F5EA6CA7}" dt="2024-03-25T03:19:21.981" v="3485"/>
          <ac:cxnSpMkLst>
            <pc:docMk/>
            <pc:sldMk cId="2897983513" sldId="2147376780"/>
            <ac:cxnSpMk id="21" creationId="{79F7FEF1-2998-6233-A841-A3E4F4BD91A5}"/>
          </ac:cxnSpMkLst>
        </pc:cxnChg>
        <pc:cxnChg chg="add del mod">
          <ac:chgData name="Clark, Connie" userId="73351e60-ad32-4085-a232-1d9f9b189479" providerId="ADAL" clId="{5F87A5E2-C2A2-4F23-BC8C-28F7F5EA6CA7}" dt="2024-03-25T03:19:21.981" v="3485"/>
          <ac:cxnSpMkLst>
            <pc:docMk/>
            <pc:sldMk cId="2897983513" sldId="2147376780"/>
            <ac:cxnSpMk id="22" creationId="{97B06FC0-BECA-E484-02F4-720ECD23CE0F}"/>
          </ac:cxnSpMkLst>
        </pc:cxnChg>
        <pc:cxnChg chg="add del mod">
          <ac:chgData name="Clark, Connie" userId="73351e60-ad32-4085-a232-1d9f9b189479" providerId="ADAL" clId="{5F87A5E2-C2A2-4F23-BC8C-28F7F5EA6CA7}" dt="2024-03-25T03:19:21.981" v="3485"/>
          <ac:cxnSpMkLst>
            <pc:docMk/>
            <pc:sldMk cId="2897983513" sldId="2147376780"/>
            <ac:cxnSpMk id="23" creationId="{65CDD18E-1F7C-8740-3B3B-8682819079EB}"/>
          </ac:cxnSpMkLst>
        </pc:cxnChg>
        <pc:cxnChg chg="add del mod">
          <ac:chgData name="Clark, Connie" userId="73351e60-ad32-4085-a232-1d9f9b189479" providerId="ADAL" clId="{5F87A5E2-C2A2-4F23-BC8C-28F7F5EA6CA7}" dt="2024-05-23T23:58:30.422" v="31021"/>
          <ac:cxnSpMkLst>
            <pc:docMk/>
            <pc:sldMk cId="2897983513" sldId="2147376780"/>
            <ac:cxnSpMk id="36" creationId="{E2CF84B1-252A-0C4C-63D0-D3EE3F9AC402}"/>
          </ac:cxnSpMkLst>
        </pc:cxnChg>
        <pc:cxnChg chg="add del mod">
          <ac:chgData name="Clark, Connie" userId="73351e60-ad32-4085-a232-1d9f9b189479" providerId="ADAL" clId="{5F87A5E2-C2A2-4F23-BC8C-28F7F5EA6CA7}" dt="2024-05-23T23:58:30.422" v="31021"/>
          <ac:cxnSpMkLst>
            <pc:docMk/>
            <pc:sldMk cId="2897983513" sldId="2147376780"/>
            <ac:cxnSpMk id="37" creationId="{635ADE9C-2B1A-190E-533B-409FBD9E5AE4}"/>
          </ac:cxnSpMkLst>
        </pc:cxnChg>
        <pc:cxnChg chg="add del mod">
          <ac:chgData name="Clark, Connie" userId="73351e60-ad32-4085-a232-1d9f9b189479" providerId="ADAL" clId="{5F87A5E2-C2A2-4F23-BC8C-28F7F5EA6CA7}" dt="2024-03-25T03:19:30.359" v="3490"/>
          <ac:cxnSpMkLst>
            <pc:docMk/>
            <pc:sldMk cId="2897983513" sldId="2147376780"/>
            <ac:cxnSpMk id="38" creationId="{5828E332-E461-AC88-1959-5813C947142A}"/>
          </ac:cxnSpMkLst>
        </pc:cxnChg>
        <pc:cxnChg chg="add del mod">
          <ac:chgData name="Clark, Connie" userId="73351e60-ad32-4085-a232-1d9f9b189479" providerId="ADAL" clId="{5F87A5E2-C2A2-4F23-BC8C-28F7F5EA6CA7}" dt="2024-05-23T23:58:30.422" v="31021"/>
          <ac:cxnSpMkLst>
            <pc:docMk/>
            <pc:sldMk cId="2897983513" sldId="2147376780"/>
            <ac:cxnSpMk id="38" creationId="{5A9519D0-0DF0-49AA-A412-88F1FE55B7F5}"/>
          </ac:cxnSpMkLst>
        </pc:cxnChg>
        <pc:cxnChg chg="add del mod">
          <ac:chgData name="Clark, Connie" userId="73351e60-ad32-4085-a232-1d9f9b189479" providerId="ADAL" clId="{5F87A5E2-C2A2-4F23-BC8C-28F7F5EA6CA7}" dt="2024-03-25T03:19:30.359" v="3490"/>
          <ac:cxnSpMkLst>
            <pc:docMk/>
            <pc:sldMk cId="2897983513" sldId="2147376780"/>
            <ac:cxnSpMk id="39" creationId="{55B610F7-051F-665B-77DF-ECF018347B6F}"/>
          </ac:cxnSpMkLst>
        </pc:cxnChg>
        <pc:cxnChg chg="add del mod">
          <ac:chgData name="Clark, Connie" userId="73351e60-ad32-4085-a232-1d9f9b189479" providerId="ADAL" clId="{5F87A5E2-C2A2-4F23-BC8C-28F7F5EA6CA7}" dt="2024-05-23T23:58:30.422" v="31021"/>
          <ac:cxnSpMkLst>
            <pc:docMk/>
            <pc:sldMk cId="2897983513" sldId="2147376780"/>
            <ac:cxnSpMk id="39" creationId="{C9E09D8A-6B38-AE2B-0D3D-C7A2D007C421}"/>
          </ac:cxnSpMkLst>
        </pc:cxnChg>
        <pc:cxnChg chg="add del mod">
          <ac:chgData name="Clark, Connie" userId="73351e60-ad32-4085-a232-1d9f9b189479" providerId="ADAL" clId="{5F87A5E2-C2A2-4F23-BC8C-28F7F5EA6CA7}" dt="2024-05-23T23:58:30.422" v="31021"/>
          <ac:cxnSpMkLst>
            <pc:docMk/>
            <pc:sldMk cId="2897983513" sldId="2147376780"/>
            <ac:cxnSpMk id="40" creationId="{40D96288-D6ED-7FCA-9218-8FA0E8997CF5}"/>
          </ac:cxnSpMkLst>
        </pc:cxnChg>
        <pc:cxnChg chg="add del mod">
          <ac:chgData name="Clark, Connie" userId="73351e60-ad32-4085-a232-1d9f9b189479" providerId="ADAL" clId="{5F87A5E2-C2A2-4F23-BC8C-28F7F5EA6CA7}" dt="2024-03-25T03:19:30.359" v="3490"/>
          <ac:cxnSpMkLst>
            <pc:docMk/>
            <pc:sldMk cId="2897983513" sldId="2147376780"/>
            <ac:cxnSpMk id="40" creationId="{A068B525-4345-9634-1470-050F138F8BD4}"/>
          </ac:cxnSpMkLst>
        </pc:cxnChg>
        <pc:cxnChg chg="add del mod">
          <ac:chgData name="Clark, Connie" userId="73351e60-ad32-4085-a232-1d9f9b189479" providerId="ADAL" clId="{5F87A5E2-C2A2-4F23-BC8C-28F7F5EA6CA7}" dt="2024-05-23T23:58:30.422" v="31021"/>
          <ac:cxnSpMkLst>
            <pc:docMk/>
            <pc:sldMk cId="2897983513" sldId="2147376780"/>
            <ac:cxnSpMk id="41" creationId="{975FFC1A-C9F1-278A-0936-24BE99288A58}"/>
          </ac:cxnSpMkLst>
        </pc:cxnChg>
        <pc:cxnChg chg="add del mod">
          <ac:chgData name="Clark, Connie" userId="73351e60-ad32-4085-a232-1d9f9b189479" providerId="ADAL" clId="{5F87A5E2-C2A2-4F23-BC8C-28F7F5EA6CA7}" dt="2024-03-25T03:19:30.359" v="3490"/>
          <ac:cxnSpMkLst>
            <pc:docMk/>
            <pc:sldMk cId="2897983513" sldId="2147376780"/>
            <ac:cxnSpMk id="41" creationId="{9C438743-096C-F415-B695-35CC0DC2E5D2}"/>
          </ac:cxnSpMkLst>
        </pc:cxnChg>
        <pc:cxnChg chg="add del mod">
          <ac:chgData name="Clark, Connie" userId="73351e60-ad32-4085-a232-1d9f9b189479" providerId="ADAL" clId="{5F87A5E2-C2A2-4F23-BC8C-28F7F5EA6CA7}" dt="2024-05-23T23:58:30.422" v="31021"/>
          <ac:cxnSpMkLst>
            <pc:docMk/>
            <pc:sldMk cId="2897983513" sldId="2147376780"/>
            <ac:cxnSpMk id="42" creationId="{5688AEC3-39E6-7834-BDE4-E255C72C8A07}"/>
          </ac:cxnSpMkLst>
        </pc:cxnChg>
        <pc:cxnChg chg="add del mod">
          <ac:chgData name="Clark, Connie" userId="73351e60-ad32-4085-a232-1d9f9b189479" providerId="ADAL" clId="{5F87A5E2-C2A2-4F23-BC8C-28F7F5EA6CA7}" dt="2024-03-25T03:19:30.359" v="3490"/>
          <ac:cxnSpMkLst>
            <pc:docMk/>
            <pc:sldMk cId="2897983513" sldId="2147376780"/>
            <ac:cxnSpMk id="42" creationId="{FE6B31B3-D5D2-3705-0CAA-9C4FEDE20B8F}"/>
          </ac:cxnSpMkLst>
        </pc:cxnChg>
        <pc:cxnChg chg="add del mod">
          <ac:chgData name="Clark, Connie" userId="73351e60-ad32-4085-a232-1d9f9b189479" providerId="ADAL" clId="{5F87A5E2-C2A2-4F23-BC8C-28F7F5EA6CA7}" dt="2024-05-23T23:58:30.422" v="31021"/>
          <ac:cxnSpMkLst>
            <pc:docMk/>
            <pc:sldMk cId="2897983513" sldId="2147376780"/>
            <ac:cxnSpMk id="43" creationId="{64A106F2-5D0A-659D-50AA-510EB1736987}"/>
          </ac:cxnSpMkLst>
        </pc:cxnChg>
        <pc:cxnChg chg="add del mod">
          <ac:chgData name="Clark, Connie" userId="73351e60-ad32-4085-a232-1d9f9b189479" providerId="ADAL" clId="{5F87A5E2-C2A2-4F23-BC8C-28F7F5EA6CA7}" dt="2024-03-25T03:19:30.359" v="3490"/>
          <ac:cxnSpMkLst>
            <pc:docMk/>
            <pc:sldMk cId="2897983513" sldId="2147376780"/>
            <ac:cxnSpMk id="43" creationId="{7D33F870-774D-1795-A40C-F401F42164E4}"/>
          </ac:cxnSpMkLst>
        </pc:cxnChg>
        <pc:cxnChg chg="add del mod">
          <ac:chgData name="Clark, Connie" userId="73351e60-ad32-4085-a232-1d9f9b189479" providerId="ADAL" clId="{5F87A5E2-C2A2-4F23-BC8C-28F7F5EA6CA7}" dt="2024-03-25T03:19:30.359" v="3490"/>
          <ac:cxnSpMkLst>
            <pc:docMk/>
            <pc:sldMk cId="2897983513" sldId="2147376780"/>
            <ac:cxnSpMk id="44" creationId="{C0C3E0AB-AFB5-1218-D73A-C587E154C712}"/>
          </ac:cxnSpMkLst>
        </pc:cxnChg>
        <pc:cxnChg chg="add del mod">
          <ac:chgData name="Clark, Connie" userId="73351e60-ad32-4085-a232-1d9f9b189479" providerId="ADAL" clId="{5F87A5E2-C2A2-4F23-BC8C-28F7F5EA6CA7}" dt="2024-03-25T03:19:30.359" v="3490"/>
          <ac:cxnSpMkLst>
            <pc:docMk/>
            <pc:sldMk cId="2897983513" sldId="2147376780"/>
            <ac:cxnSpMk id="45" creationId="{1FBDEC14-EE98-B1CE-5DAB-3359FCE5C97A}"/>
          </ac:cxnSpMkLst>
        </pc:cxnChg>
        <pc:cxnChg chg="add del mod">
          <ac:chgData name="Clark, Connie" userId="73351e60-ad32-4085-a232-1d9f9b189479" providerId="ADAL" clId="{5F87A5E2-C2A2-4F23-BC8C-28F7F5EA6CA7}" dt="2024-05-23T23:58:54.540" v="31024"/>
          <ac:cxnSpMkLst>
            <pc:docMk/>
            <pc:sldMk cId="2897983513" sldId="2147376780"/>
            <ac:cxnSpMk id="60" creationId="{0FC780C8-00FD-A944-01D2-0FB5CE9FD6C2}"/>
          </ac:cxnSpMkLst>
        </pc:cxnChg>
        <pc:cxnChg chg="add del mod">
          <ac:chgData name="Clark, Connie" userId="73351e60-ad32-4085-a232-1d9f9b189479" providerId="ADAL" clId="{5F87A5E2-C2A2-4F23-BC8C-28F7F5EA6CA7}" dt="2024-05-23T23:58:54.540" v="31024"/>
          <ac:cxnSpMkLst>
            <pc:docMk/>
            <pc:sldMk cId="2897983513" sldId="2147376780"/>
            <ac:cxnSpMk id="61" creationId="{BF00F12A-3E2D-308D-3567-4F8141985F62}"/>
          </ac:cxnSpMkLst>
        </pc:cxnChg>
        <pc:cxnChg chg="add del mod">
          <ac:chgData name="Clark, Connie" userId="73351e60-ad32-4085-a232-1d9f9b189479" providerId="ADAL" clId="{5F87A5E2-C2A2-4F23-BC8C-28F7F5EA6CA7}" dt="2024-05-23T23:58:54.540" v="31024"/>
          <ac:cxnSpMkLst>
            <pc:docMk/>
            <pc:sldMk cId="2897983513" sldId="2147376780"/>
            <ac:cxnSpMk id="62" creationId="{16EFEBF1-D723-36DA-749E-81A62FBDA30E}"/>
          </ac:cxnSpMkLst>
        </pc:cxnChg>
        <pc:cxnChg chg="add del mod">
          <ac:chgData name="Clark, Connie" userId="73351e60-ad32-4085-a232-1d9f9b189479" providerId="ADAL" clId="{5F87A5E2-C2A2-4F23-BC8C-28F7F5EA6CA7}" dt="2024-05-23T23:58:54.540" v="31024"/>
          <ac:cxnSpMkLst>
            <pc:docMk/>
            <pc:sldMk cId="2897983513" sldId="2147376780"/>
            <ac:cxnSpMk id="63" creationId="{5EAB5C47-D6AD-EEB3-642C-BDD4E300AEA9}"/>
          </ac:cxnSpMkLst>
        </pc:cxnChg>
        <pc:cxnChg chg="add del mod">
          <ac:chgData name="Clark, Connie" userId="73351e60-ad32-4085-a232-1d9f9b189479" providerId="ADAL" clId="{5F87A5E2-C2A2-4F23-BC8C-28F7F5EA6CA7}" dt="2024-05-23T23:58:54.540" v="31024"/>
          <ac:cxnSpMkLst>
            <pc:docMk/>
            <pc:sldMk cId="2897983513" sldId="2147376780"/>
            <ac:cxnSpMk id="64" creationId="{A4792587-9EE6-D38B-71B8-5750AC33AC5C}"/>
          </ac:cxnSpMkLst>
        </pc:cxnChg>
        <pc:cxnChg chg="add del mod">
          <ac:chgData name="Clark, Connie" userId="73351e60-ad32-4085-a232-1d9f9b189479" providerId="ADAL" clId="{5F87A5E2-C2A2-4F23-BC8C-28F7F5EA6CA7}" dt="2024-05-23T23:58:54.540" v="31024"/>
          <ac:cxnSpMkLst>
            <pc:docMk/>
            <pc:sldMk cId="2897983513" sldId="2147376780"/>
            <ac:cxnSpMk id="65" creationId="{AF31D309-8CB8-757B-D85D-9DEBC02437CE}"/>
          </ac:cxnSpMkLst>
        </pc:cxnChg>
        <pc:cxnChg chg="add del mod">
          <ac:chgData name="Clark, Connie" userId="73351e60-ad32-4085-a232-1d9f9b189479" providerId="ADAL" clId="{5F87A5E2-C2A2-4F23-BC8C-28F7F5EA6CA7}" dt="2024-05-23T23:58:54.540" v="31024"/>
          <ac:cxnSpMkLst>
            <pc:docMk/>
            <pc:sldMk cId="2897983513" sldId="2147376780"/>
            <ac:cxnSpMk id="66" creationId="{372E961B-0BCB-5BE0-BA23-D9F2AC21025C}"/>
          </ac:cxnSpMkLst>
        </pc:cxnChg>
        <pc:cxnChg chg="add del mod">
          <ac:chgData name="Clark, Connie" userId="73351e60-ad32-4085-a232-1d9f9b189479" providerId="ADAL" clId="{5F87A5E2-C2A2-4F23-BC8C-28F7F5EA6CA7}" dt="2024-05-23T23:58:54.540" v="31024"/>
          <ac:cxnSpMkLst>
            <pc:docMk/>
            <pc:sldMk cId="2897983513" sldId="2147376780"/>
            <ac:cxnSpMk id="67" creationId="{C37B5B02-304F-486F-7E8B-5FCB28103D29}"/>
          </ac:cxnSpMkLst>
        </pc:cxnChg>
        <pc:cxnChg chg="add mod">
          <ac:chgData name="Clark, Connie" userId="73351e60-ad32-4085-a232-1d9f9b189479" providerId="ADAL" clId="{5F87A5E2-C2A2-4F23-BC8C-28F7F5EA6CA7}" dt="2024-05-23T23:58:54.805" v="31026" actId="27636"/>
          <ac:cxnSpMkLst>
            <pc:docMk/>
            <pc:sldMk cId="2897983513" sldId="2147376780"/>
            <ac:cxnSpMk id="84" creationId="{CF44DAB7-676E-67DD-83B3-C4A576759C33}"/>
          </ac:cxnSpMkLst>
        </pc:cxnChg>
        <pc:cxnChg chg="add mod">
          <ac:chgData name="Clark, Connie" userId="73351e60-ad32-4085-a232-1d9f9b189479" providerId="ADAL" clId="{5F87A5E2-C2A2-4F23-BC8C-28F7F5EA6CA7}" dt="2024-05-23T23:58:54.805" v="31026" actId="27636"/>
          <ac:cxnSpMkLst>
            <pc:docMk/>
            <pc:sldMk cId="2897983513" sldId="2147376780"/>
            <ac:cxnSpMk id="85" creationId="{122CB5B8-3412-BA2B-C861-8EF2FCC92402}"/>
          </ac:cxnSpMkLst>
        </pc:cxnChg>
        <pc:cxnChg chg="add mod">
          <ac:chgData name="Clark, Connie" userId="73351e60-ad32-4085-a232-1d9f9b189479" providerId="ADAL" clId="{5F87A5E2-C2A2-4F23-BC8C-28F7F5EA6CA7}" dt="2024-05-23T23:58:54.805" v="31026" actId="27636"/>
          <ac:cxnSpMkLst>
            <pc:docMk/>
            <pc:sldMk cId="2897983513" sldId="2147376780"/>
            <ac:cxnSpMk id="86" creationId="{FA453C64-A289-AF9C-322E-7A6DFB03A06E}"/>
          </ac:cxnSpMkLst>
        </pc:cxnChg>
        <pc:cxnChg chg="add mod">
          <ac:chgData name="Clark, Connie" userId="73351e60-ad32-4085-a232-1d9f9b189479" providerId="ADAL" clId="{5F87A5E2-C2A2-4F23-BC8C-28F7F5EA6CA7}" dt="2024-05-23T23:58:54.805" v="31026" actId="27636"/>
          <ac:cxnSpMkLst>
            <pc:docMk/>
            <pc:sldMk cId="2897983513" sldId="2147376780"/>
            <ac:cxnSpMk id="87" creationId="{03639EB9-9A4E-E251-14CB-90E3E0149F37}"/>
          </ac:cxnSpMkLst>
        </pc:cxnChg>
        <pc:cxnChg chg="add mod">
          <ac:chgData name="Clark, Connie" userId="73351e60-ad32-4085-a232-1d9f9b189479" providerId="ADAL" clId="{5F87A5E2-C2A2-4F23-BC8C-28F7F5EA6CA7}" dt="2024-05-23T23:58:54.805" v="31026" actId="27636"/>
          <ac:cxnSpMkLst>
            <pc:docMk/>
            <pc:sldMk cId="2897983513" sldId="2147376780"/>
            <ac:cxnSpMk id="88" creationId="{DCCB3BB4-3B44-6988-2126-FCBB0B8972C5}"/>
          </ac:cxnSpMkLst>
        </pc:cxnChg>
        <pc:cxnChg chg="add mod">
          <ac:chgData name="Clark, Connie" userId="73351e60-ad32-4085-a232-1d9f9b189479" providerId="ADAL" clId="{5F87A5E2-C2A2-4F23-BC8C-28F7F5EA6CA7}" dt="2024-05-23T23:58:54.805" v="31026" actId="27636"/>
          <ac:cxnSpMkLst>
            <pc:docMk/>
            <pc:sldMk cId="2897983513" sldId="2147376780"/>
            <ac:cxnSpMk id="89" creationId="{C4C77EB2-F4FE-7EFA-B6DA-4B873A42CF83}"/>
          </ac:cxnSpMkLst>
        </pc:cxnChg>
        <pc:cxnChg chg="add mod">
          <ac:chgData name="Clark, Connie" userId="73351e60-ad32-4085-a232-1d9f9b189479" providerId="ADAL" clId="{5F87A5E2-C2A2-4F23-BC8C-28F7F5EA6CA7}" dt="2024-05-23T23:58:54.805" v="31026" actId="27636"/>
          <ac:cxnSpMkLst>
            <pc:docMk/>
            <pc:sldMk cId="2897983513" sldId="2147376780"/>
            <ac:cxnSpMk id="90" creationId="{24AC122E-3ABB-D234-ED47-AE2907E759C1}"/>
          </ac:cxnSpMkLst>
        </pc:cxnChg>
        <pc:cxnChg chg="add mod">
          <ac:chgData name="Clark, Connie" userId="73351e60-ad32-4085-a232-1d9f9b189479" providerId="ADAL" clId="{5F87A5E2-C2A2-4F23-BC8C-28F7F5EA6CA7}" dt="2024-05-23T23:58:54.805" v="31026" actId="27636"/>
          <ac:cxnSpMkLst>
            <pc:docMk/>
            <pc:sldMk cId="2897983513" sldId="2147376780"/>
            <ac:cxnSpMk id="91" creationId="{BE1880C6-95F8-5BB8-B36A-7A8C7F67ED3D}"/>
          </ac:cxnSpMkLst>
        </pc:cxnChg>
      </pc:sldChg>
      <pc:sldChg chg="add del">
        <pc:chgData name="Clark, Connie" userId="73351e60-ad32-4085-a232-1d9f9b189479" providerId="ADAL" clId="{5F87A5E2-C2A2-4F23-BC8C-28F7F5EA6CA7}" dt="2024-03-25T00:11:14.476" v="132"/>
        <pc:sldMkLst>
          <pc:docMk/>
          <pc:sldMk cId="3730381298" sldId="2147376780"/>
        </pc:sldMkLst>
      </pc:sldChg>
      <pc:sldChg chg="add del">
        <pc:chgData name="Clark, Connie" userId="73351e60-ad32-4085-a232-1d9f9b189479" providerId="ADAL" clId="{5F87A5E2-C2A2-4F23-BC8C-28F7F5EA6CA7}" dt="2024-03-25T03:37:06.137" v="3564" actId="47"/>
        <pc:sldMkLst>
          <pc:docMk/>
          <pc:sldMk cId="58731234" sldId="2147376781"/>
        </pc:sldMkLst>
      </pc:sldChg>
      <pc:sldChg chg="addSp delSp modSp add mod ord delAnim modAnim">
        <pc:chgData name="Clark, Connie" userId="73351e60-ad32-4085-a232-1d9f9b189479" providerId="ADAL" clId="{5F87A5E2-C2A2-4F23-BC8C-28F7F5EA6CA7}" dt="2024-03-30T02:05:34.116" v="12896"/>
        <pc:sldMkLst>
          <pc:docMk/>
          <pc:sldMk cId="1305518491" sldId="2147376782"/>
        </pc:sldMkLst>
        <pc:spChg chg="add mod">
          <ac:chgData name="Clark, Connie" userId="73351e60-ad32-4085-a232-1d9f9b189479" providerId="ADAL" clId="{5F87A5E2-C2A2-4F23-BC8C-28F7F5EA6CA7}" dt="2024-03-29T23:38:16.640" v="8796"/>
          <ac:spMkLst>
            <pc:docMk/>
            <pc:sldMk cId="1305518491" sldId="2147376782"/>
            <ac:spMk id="2" creationId="{668C637A-21F4-3A6E-0040-13118C87651E}"/>
          </ac:spMkLst>
        </pc:spChg>
        <pc:spChg chg="del mod">
          <ac:chgData name="Clark, Connie" userId="73351e60-ad32-4085-a232-1d9f9b189479" providerId="ADAL" clId="{5F87A5E2-C2A2-4F23-BC8C-28F7F5EA6CA7}" dt="2024-03-29T23:38:12.573" v="8794" actId="478"/>
          <ac:spMkLst>
            <pc:docMk/>
            <pc:sldMk cId="1305518491" sldId="2147376782"/>
            <ac:spMk id="3" creationId="{9AFBF33D-ED8C-A6DE-E037-F533CE2052F2}"/>
          </ac:spMkLst>
        </pc:spChg>
        <pc:spChg chg="add del mod">
          <ac:chgData name="Clark, Connie" userId="73351e60-ad32-4085-a232-1d9f9b189479" providerId="ADAL" clId="{5F87A5E2-C2A2-4F23-BC8C-28F7F5EA6CA7}" dt="2024-03-29T23:38:15.030" v="8795" actId="478"/>
          <ac:spMkLst>
            <pc:docMk/>
            <pc:sldMk cId="1305518491" sldId="2147376782"/>
            <ac:spMk id="4" creationId="{A4F4489F-E638-7273-86A5-F120A8F53A51}"/>
          </ac:spMkLst>
        </pc:spChg>
        <pc:spChg chg="add mod">
          <ac:chgData name="Clark, Connie" userId="73351e60-ad32-4085-a232-1d9f9b189479" providerId="ADAL" clId="{5F87A5E2-C2A2-4F23-BC8C-28F7F5EA6CA7}" dt="2024-03-29T23:38:16.640" v="8796"/>
          <ac:spMkLst>
            <pc:docMk/>
            <pc:sldMk cId="1305518491" sldId="2147376782"/>
            <ac:spMk id="5" creationId="{2389F8FD-CB3F-8E9C-D511-1A425D323873}"/>
          </ac:spMkLst>
        </pc:spChg>
        <pc:spChg chg="add del mod">
          <ac:chgData name="Clark, Connie" userId="73351e60-ad32-4085-a232-1d9f9b189479" providerId="ADAL" clId="{5F87A5E2-C2A2-4F23-BC8C-28F7F5EA6CA7}" dt="2024-03-25T02:22:56.551" v="2552"/>
          <ac:spMkLst>
            <pc:docMk/>
            <pc:sldMk cId="1305518491" sldId="2147376782"/>
            <ac:spMk id="5" creationId="{C0B1FF8A-DA0C-A5E2-474D-AAD1CB6D69B3}"/>
          </ac:spMkLst>
        </pc:spChg>
        <pc:spChg chg="add del mod">
          <ac:chgData name="Clark, Connie" userId="73351e60-ad32-4085-a232-1d9f9b189479" providerId="ADAL" clId="{5F87A5E2-C2A2-4F23-BC8C-28F7F5EA6CA7}" dt="2024-03-25T02:22:56.551" v="2552"/>
          <ac:spMkLst>
            <pc:docMk/>
            <pc:sldMk cId="1305518491" sldId="2147376782"/>
            <ac:spMk id="6" creationId="{A625C9E1-DA2A-9102-488A-973D94158E76}"/>
          </ac:spMkLst>
        </pc:spChg>
        <pc:spChg chg="add del mod">
          <ac:chgData name="Clark, Connie" userId="73351e60-ad32-4085-a232-1d9f9b189479" providerId="ADAL" clId="{5F87A5E2-C2A2-4F23-BC8C-28F7F5EA6CA7}" dt="2024-03-25T02:22:56.551" v="2552"/>
          <ac:spMkLst>
            <pc:docMk/>
            <pc:sldMk cId="1305518491" sldId="2147376782"/>
            <ac:spMk id="7" creationId="{B0297DED-18CA-9531-C2F4-783E498C4B03}"/>
          </ac:spMkLst>
        </pc:spChg>
        <pc:spChg chg="add del mod">
          <ac:chgData name="Clark, Connie" userId="73351e60-ad32-4085-a232-1d9f9b189479" providerId="ADAL" clId="{5F87A5E2-C2A2-4F23-BC8C-28F7F5EA6CA7}" dt="2024-03-25T02:22:56.551" v="2552"/>
          <ac:spMkLst>
            <pc:docMk/>
            <pc:sldMk cId="1305518491" sldId="2147376782"/>
            <ac:spMk id="8" creationId="{8D6E019E-079A-0DA2-53C2-10BADA06BB05}"/>
          </ac:spMkLst>
        </pc:spChg>
        <pc:spChg chg="del">
          <ac:chgData name="Clark, Connie" userId="73351e60-ad32-4085-a232-1d9f9b189479" providerId="ADAL" clId="{5F87A5E2-C2A2-4F23-BC8C-28F7F5EA6CA7}" dt="2024-03-25T02:22:48.738" v="2548" actId="478"/>
          <ac:spMkLst>
            <pc:docMk/>
            <pc:sldMk cId="1305518491" sldId="2147376782"/>
            <ac:spMk id="9" creationId="{9471083A-98D2-8F37-7493-9C680DF70067}"/>
          </ac:spMkLst>
        </pc:spChg>
        <pc:spChg chg="add del mod">
          <ac:chgData name="Clark, Connie" userId="73351e60-ad32-4085-a232-1d9f9b189479" providerId="ADAL" clId="{5F87A5E2-C2A2-4F23-BC8C-28F7F5EA6CA7}" dt="2024-03-25T02:22:56.551" v="2552"/>
          <ac:spMkLst>
            <pc:docMk/>
            <pc:sldMk cId="1305518491" sldId="2147376782"/>
            <ac:spMk id="11" creationId="{B94581AB-BF6F-8E39-3D75-C54116555A96}"/>
          </ac:spMkLst>
        </pc:spChg>
        <pc:spChg chg="add del mod">
          <ac:chgData name="Clark, Connie" userId="73351e60-ad32-4085-a232-1d9f9b189479" providerId="ADAL" clId="{5F87A5E2-C2A2-4F23-BC8C-28F7F5EA6CA7}" dt="2024-03-25T02:22:56.551" v="2552"/>
          <ac:spMkLst>
            <pc:docMk/>
            <pc:sldMk cId="1305518491" sldId="2147376782"/>
            <ac:spMk id="12" creationId="{0CF94A81-299A-F87B-E135-A2C7816EF42A}"/>
          </ac:spMkLst>
        </pc:spChg>
        <pc:spChg chg="add del mod">
          <ac:chgData name="Clark, Connie" userId="73351e60-ad32-4085-a232-1d9f9b189479" providerId="ADAL" clId="{5F87A5E2-C2A2-4F23-BC8C-28F7F5EA6CA7}" dt="2024-03-25T02:22:56.551" v="2552"/>
          <ac:spMkLst>
            <pc:docMk/>
            <pc:sldMk cId="1305518491" sldId="2147376782"/>
            <ac:spMk id="13" creationId="{30ACB6CC-1866-E5BE-7696-D24554DC433C}"/>
          </ac:spMkLst>
        </pc:spChg>
        <pc:spChg chg="add del mod">
          <ac:chgData name="Clark, Connie" userId="73351e60-ad32-4085-a232-1d9f9b189479" providerId="ADAL" clId="{5F87A5E2-C2A2-4F23-BC8C-28F7F5EA6CA7}" dt="2024-03-25T02:22:56.551" v="2552"/>
          <ac:spMkLst>
            <pc:docMk/>
            <pc:sldMk cId="1305518491" sldId="2147376782"/>
            <ac:spMk id="15" creationId="{B4BC1B52-45D2-2175-7DFC-B6A623B799DE}"/>
          </ac:spMkLst>
        </pc:spChg>
        <pc:spChg chg="add del mod">
          <ac:chgData name="Clark, Connie" userId="73351e60-ad32-4085-a232-1d9f9b189479" providerId="ADAL" clId="{5F87A5E2-C2A2-4F23-BC8C-28F7F5EA6CA7}" dt="2024-03-25T02:22:56.551" v="2552"/>
          <ac:spMkLst>
            <pc:docMk/>
            <pc:sldMk cId="1305518491" sldId="2147376782"/>
            <ac:spMk id="21" creationId="{F9DB0E3C-8E77-A077-2447-010AAF277B13}"/>
          </ac:spMkLst>
        </pc:spChg>
        <pc:spChg chg="add del mod">
          <ac:chgData name="Clark, Connie" userId="73351e60-ad32-4085-a232-1d9f9b189479" providerId="ADAL" clId="{5F87A5E2-C2A2-4F23-BC8C-28F7F5EA6CA7}" dt="2024-03-25T02:22:56.551" v="2552"/>
          <ac:spMkLst>
            <pc:docMk/>
            <pc:sldMk cId="1305518491" sldId="2147376782"/>
            <ac:spMk id="22" creationId="{F31324A8-35E2-F530-7556-80213A1ACA30}"/>
          </ac:spMkLst>
        </pc:spChg>
        <pc:spChg chg="add del mod">
          <ac:chgData name="Clark, Connie" userId="73351e60-ad32-4085-a232-1d9f9b189479" providerId="ADAL" clId="{5F87A5E2-C2A2-4F23-BC8C-28F7F5EA6CA7}" dt="2024-03-25T02:22:56.551" v="2552"/>
          <ac:spMkLst>
            <pc:docMk/>
            <pc:sldMk cId="1305518491" sldId="2147376782"/>
            <ac:spMk id="23" creationId="{B84B8060-B111-A53A-C714-6A5C6E0E8BC3}"/>
          </ac:spMkLst>
        </pc:spChg>
        <pc:spChg chg="add del mod">
          <ac:chgData name="Clark, Connie" userId="73351e60-ad32-4085-a232-1d9f9b189479" providerId="ADAL" clId="{5F87A5E2-C2A2-4F23-BC8C-28F7F5EA6CA7}" dt="2024-03-25T02:22:56.551" v="2552"/>
          <ac:spMkLst>
            <pc:docMk/>
            <pc:sldMk cId="1305518491" sldId="2147376782"/>
            <ac:spMk id="24" creationId="{B1A6D101-07AD-D7B3-BDC3-221066BAB850}"/>
          </ac:spMkLst>
        </pc:spChg>
        <pc:spChg chg="add del mod">
          <ac:chgData name="Clark, Connie" userId="73351e60-ad32-4085-a232-1d9f9b189479" providerId="ADAL" clId="{5F87A5E2-C2A2-4F23-BC8C-28F7F5EA6CA7}" dt="2024-03-25T02:22:56.551" v="2552"/>
          <ac:spMkLst>
            <pc:docMk/>
            <pc:sldMk cId="1305518491" sldId="2147376782"/>
            <ac:spMk id="25" creationId="{A0F82E04-045C-CD02-CBA9-D59B1364A5CD}"/>
          </ac:spMkLst>
        </pc:spChg>
        <pc:spChg chg="add del mod">
          <ac:chgData name="Clark, Connie" userId="73351e60-ad32-4085-a232-1d9f9b189479" providerId="ADAL" clId="{5F87A5E2-C2A2-4F23-BC8C-28F7F5EA6CA7}" dt="2024-03-25T02:22:56.551" v="2552"/>
          <ac:spMkLst>
            <pc:docMk/>
            <pc:sldMk cId="1305518491" sldId="2147376782"/>
            <ac:spMk id="26" creationId="{ED147546-CFC5-2C3B-5E81-087665ABAC9A}"/>
          </ac:spMkLst>
        </pc:spChg>
        <pc:spChg chg="add del mod">
          <ac:chgData name="Clark, Connie" userId="73351e60-ad32-4085-a232-1d9f9b189479" providerId="ADAL" clId="{5F87A5E2-C2A2-4F23-BC8C-28F7F5EA6CA7}" dt="2024-03-25T02:22:56.551" v="2552"/>
          <ac:spMkLst>
            <pc:docMk/>
            <pc:sldMk cId="1305518491" sldId="2147376782"/>
            <ac:spMk id="27" creationId="{119ED7EA-2B1A-1807-94DE-47E0919555E0}"/>
          </ac:spMkLst>
        </pc:spChg>
        <pc:spChg chg="add del mod">
          <ac:chgData name="Clark, Connie" userId="73351e60-ad32-4085-a232-1d9f9b189479" providerId="ADAL" clId="{5F87A5E2-C2A2-4F23-BC8C-28F7F5EA6CA7}" dt="2024-03-25T02:22:56.551" v="2552"/>
          <ac:spMkLst>
            <pc:docMk/>
            <pc:sldMk cId="1305518491" sldId="2147376782"/>
            <ac:spMk id="28" creationId="{D18B81A8-8CCB-A000-C764-352FBC3954B5}"/>
          </ac:spMkLst>
        </pc:spChg>
        <pc:spChg chg="add del mod">
          <ac:chgData name="Clark, Connie" userId="73351e60-ad32-4085-a232-1d9f9b189479" providerId="ADAL" clId="{5F87A5E2-C2A2-4F23-BC8C-28F7F5EA6CA7}" dt="2024-03-25T02:22:56.551" v="2552"/>
          <ac:spMkLst>
            <pc:docMk/>
            <pc:sldMk cId="1305518491" sldId="2147376782"/>
            <ac:spMk id="29" creationId="{71B15FFD-0294-B3D5-E644-66FEEC359B3D}"/>
          </ac:spMkLst>
        </pc:spChg>
        <pc:spChg chg="add del mod">
          <ac:chgData name="Clark, Connie" userId="73351e60-ad32-4085-a232-1d9f9b189479" providerId="ADAL" clId="{5F87A5E2-C2A2-4F23-BC8C-28F7F5EA6CA7}" dt="2024-03-25T02:22:56.551" v="2552"/>
          <ac:spMkLst>
            <pc:docMk/>
            <pc:sldMk cId="1305518491" sldId="2147376782"/>
            <ac:spMk id="30" creationId="{0A7710EF-AC1E-E53A-5955-89FB6EFD4E45}"/>
          </ac:spMkLst>
        </pc:spChg>
        <pc:spChg chg="add del mod">
          <ac:chgData name="Clark, Connie" userId="73351e60-ad32-4085-a232-1d9f9b189479" providerId="ADAL" clId="{5F87A5E2-C2A2-4F23-BC8C-28F7F5EA6CA7}" dt="2024-03-25T02:22:56.551" v="2552"/>
          <ac:spMkLst>
            <pc:docMk/>
            <pc:sldMk cId="1305518491" sldId="2147376782"/>
            <ac:spMk id="35" creationId="{44CD276C-FEF4-C4FB-7B4F-9EBB8339F441}"/>
          </ac:spMkLst>
        </pc:spChg>
        <pc:spChg chg="add del mod">
          <ac:chgData name="Clark, Connie" userId="73351e60-ad32-4085-a232-1d9f9b189479" providerId="ADAL" clId="{5F87A5E2-C2A2-4F23-BC8C-28F7F5EA6CA7}" dt="2024-03-25T02:22:56.551" v="2552"/>
          <ac:spMkLst>
            <pc:docMk/>
            <pc:sldMk cId="1305518491" sldId="2147376782"/>
            <ac:spMk id="36" creationId="{9A7C35FB-E93B-7389-9A42-B15764E944CC}"/>
          </ac:spMkLst>
        </pc:spChg>
        <pc:spChg chg="add del mod">
          <ac:chgData name="Clark, Connie" userId="73351e60-ad32-4085-a232-1d9f9b189479" providerId="ADAL" clId="{5F87A5E2-C2A2-4F23-BC8C-28F7F5EA6CA7}" dt="2024-03-25T02:22:56.551" v="2552"/>
          <ac:spMkLst>
            <pc:docMk/>
            <pc:sldMk cId="1305518491" sldId="2147376782"/>
            <ac:spMk id="37" creationId="{A93C6296-E372-CEE7-142C-B9441554F962}"/>
          </ac:spMkLst>
        </pc:spChg>
        <pc:spChg chg="add del mod">
          <ac:chgData name="Clark, Connie" userId="73351e60-ad32-4085-a232-1d9f9b189479" providerId="ADAL" clId="{5F87A5E2-C2A2-4F23-BC8C-28F7F5EA6CA7}" dt="2024-03-25T02:22:56.551" v="2552"/>
          <ac:spMkLst>
            <pc:docMk/>
            <pc:sldMk cId="1305518491" sldId="2147376782"/>
            <ac:spMk id="39" creationId="{7B3ACF8F-9746-F3D2-A237-F46D0D2CB1DB}"/>
          </ac:spMkLst>
        </pc:spChg>
        <pc:spChg chg="add del mod">
          <ac:chgData name="Clark, Connie" userId="73351e60-ad32-4085-a232-1d9f9b189479" providerId="ADAL" clId="{5F87A5E2-C2A2-4F23-BC8C-28F7F5EA6CA7}" dt="2024-03-25T02:22:56.551" v="2552"/>
          <ac:spMkLst>
            <pc:docMk/>
            <pc:sldMk cId="1305518491" sldId="2147376782"/>
            <ac:spMk id="45" creationId="{8045820F-93E1-F8AA-07BF-F37D1AF8907F}"/>
          </ac:spMkLst>
        </pc:spChg>
        <pc:spChg chg="add del mod">
          <ac:chgData name="Clark, Connie" userId="73351e60-ad32-4085-a232-1d9f9b189479" providerId="ADAL" clId="{5F87A5E2-C2A2-4F23-BC8C-28F7F5EA6CA7}" dt="2024-03-25T02:22:56.551" v="2552"/>
          <ac:spMkLst>
            <pc:docMk/>
            <pc:sldMk cId="1305518491" sldId="2147376782"/>
            <ac:spMk id="46" creationId="{9B72BFD1-9218-06E3-142F-01809F49580A}"/>
          </ac:spMkLst>
        </pc:spChg>
        <pc:spChg chg="add del mod">
          <ac:chgData name="Clark, Connie" userId="73351e60-ad32-4085-a232-1d9f9b189479" providerId="ADAL" clId="{5F87A5E2-C2A2-4F23-BC8C-28F7F5EA6CA7}" dt="2024-03-25T02:22:56.551" v="2552"/>
          <ac:spMkLst>
            <pc:docMk/>
            <pc:sldMk cId="1305518491" sldId="2147376782"/>
            <ac:spMk id="47" creationId="{BC58F2EE-E037-7B2B-FB7C-C8AD97EC0639}"/>
          </ac:spMkLst>
        </pc:spChg>
        <pc:spChg chg="add del mod">
          <ac:chgData name="Clark, Connie" userId="73351e60-ad32-4085-a232-1d9f9b189479" providerId="ADAL" clId="{5F87A5E2-C2A2-4F23-BC8C-28F7F5EA6CA7}" dt="2024-03-25T02:22:56.551" v="2552"/>
          <ac:spMkLst>
            <pc:docMk/>
            <pc:sldMk cId="1305518491" sldId="2147376782"/>
            <ac:spMk id="48" creationId="{DB585573-5D0F-EB16-4B38-2D153DF5226B}"/>
          </ac:spMkLst>
        </pc:spChg>
        <pc:spChg chg="add del mod">
          <ac:chgData name="Clark, Connie" userId="73351e60-ad32-4085-a232-1d9f9b189479" providerId="ADAL" clId="{5F87A5E2-C2A2-4F23-BC8C-28F7F5EA6CA7}" dt="2024-03-25T02:22:56.551" v="2552"/>
          <ac:spMkLst>
            <pc:docMk/>
            <pc:sldMk cId="1305518491" sldId="2147376782"/>
            <ac:spMk id="49" creationId="{F20BD8B2-D6F9-15E4-B81F-6D010D458092}"/>
          </ac:spMkLst>
        </pc:spChg>
        <pc:spChg chg="add del mod">
          <ac:chgData name="Clark, Connie" userId="73351e60-ad32-4085-a232-1d9f9b189479" providerId="ADAL" clId="{5F87A5E2-C2A2-4F23-BC8C-28F7F5EA6CA7}" dt="2024-03-25T02:22:56.551" v="2552"/>
          <ac:spMkLst>
            <pc:docMk/>
            <pc:sldMk cId="1305518491" sldId="2147376782"/>
            <ac:spMk id="50" creationId="{1BCC4E14-2D98-661A-D6B2-DD8EAF91FEFA}"/>
          </ac:spMkLst>
        </pc:spChg>
        <pc:spChg chg="add del mod">
          <ac:chgData name="Clark, Connie" userId="73351e60-ad32-4085-a232-1d9f9b189479" providerId="ADAL" clId="{5F87A5E2-C2A2-4F23-BC8C-28F7F5EA6CA7}" dt="2024-03-25T02:22:56.551" v="2552"/>
          <ac:spMkLst>
            <pc:docMk/>
            <pc:sldMk cId="1305518491" sldId="2147376782"/>
            <ac:spMk id="51" creationId="{914094AD-E2A0-13A5-D651-99400214C87E}"/>
          </ac:spMkLst>
        </pc:spChg>
        <pc:spChg chg="add del mod">
          <ac:chgData name="Clark, Connie" userId="73351e60-ad32-4085-a232-1d9f9b189479" providerId="ADAL" clId="{5F87A5E2-C2A2-4F23-BC8C-28F7F5EA6CA7}" dt="2024-03-25T02:22:56.551" v="2552"/>
          <ac:spMkLst>
            <pc:docMk/>
            <pc:sldMk cId="1305518491" sldId="2147376782"/>
            <ac:spMk id="52" creationId="{3CFE3521-AFBF-101C-E39F-B60DA9B0CAF0}"/>
          </ac:spMkLst>
        </pc:spChg>
        <pc:spChg chg="add del mod">
          <ac:chgData name="Clark, Connie" userId="73351e60-ad32-4085-a232-1d9f9b189479" providerId="ADAL" clId="{5F87A5E2-C2A2-4F23-BC8C-28F7F5EA6CA7}" dt="2024-03-25T02:22:56.551" v="2552"/>
          <ac:spMkLst>
            <pc:docMk/>
            <pc:sldMk cId="1305518491" sldId="2147376782"/>
            <ac:spMk id="53" creationId="{6D3282BE-2EA6-44F6-8BD1-6CFCA896DECA}"/>
          </ac:spMkLst>
        </pc:spChg>
        <pc:spChg chg="add del mod">
          <ac:chgData name="Clark, Connie" userId="73351e60-ad32-4085-a232-1d9f9b189479" providerId="ADAL" clId="{5F87A5E2-C2A2-4F23-BC8C-28F7F5EA6CA7}" dt="2024-03-25T02:22:56.551" v="2552"/>
          <ac:spMkLst>
            <pc:docMk/>
            <pc:sldMk cId="1305518491" sldId="2147376782"/>
            <ac:spMk id="54" creationId="{2192AF3F-C190-96D7-E46B-CDA0C1581DC4}"/>
          </ac:spMkLst>
        </pc:spChg>
        <pc:spChg chg="add del mod">
          <ac:chgData name="Clark, Connie" userId="73351e60-ad32-4085-a232-1d9f9b189479" providerId="ADAL" clId="{5F87A5E2-C2A2-4F23-BC8C-28F7F5EA6CA7}" dt="2024-03-25T02:22:56.551" v="2552"/>
          <ac:spMkLst>
            <pc:docMk/>
            <pc:sldMk cId="1305518491" sldId="2147376782"/>
            <ac:spMk id="55" creationId="{F2D5E2A3-0FF5-8E1E-9A77-95FC9A7A8793}"/>
          </ac:spMkLst>
        </pc:spChg>
        <pc:spChg chg="add del mod">
          <ac:chgData name="Clark, Connie" userId="73351e60-ad32-4085-a232-1d9f9b189479" providerId="ADAL" clId="{5F87A5E2-C2A2-4F23-BC8C-28F7F5EA6CA7}" dt="2024-03-25T02:22:56.551" v="2552"/>
          <ac:spMkLst>
            <pc:docMk/>
            <pc:sldMk cId="1305518491" sldId="2147376782"/>
            <ac:spMk id="56" creationId="{3B79C39A-F62F-5535-2275-716A674C79AA}"/>
          </ac:spMkLst>
        </pc:spChg>
        <pc:spChg chg="add del mod">
          <ac:chgData name="Clark, Connie" userId="73351e60-ad32-4085-a232-1d9f9b189479" providerId="ADAL" clId="{5F87A5E2-C2A2-4F23-BC8C-28F7F5EA6CA7}" dt="2024-03-25T02:22:56.551" v="2552"/>
          <ac:spMkLst>
            <pc:docMk/>
            <pc:sldMk cId="1305518491" sldId="2147376782"/>
            <ac:spMk id="57" creationId="{8C6710BA-9868-6B5A-73B1-EFD58D735C27}"/>
          </ac:spMkLst>
        </pc:spChg>
        <pc:spChg chg="add del mod">
          <ac:chgData name="Clark, Connie" userId="73351e60-ad32-4085-a232-1d9f9b189479" providerId="ADAL" clId="{5F87A5E2-C2A2-4F23-BC8C-28F7F5EA6CA7}" dt="2024-03-25T02:22:56.551" v="2552"/>
          <ac:spMkLst>
            <pc:docMk/>
            <pc:sldMk cId="1305518491" sldId="2147376782"/>
            <ac:spMk id="58" creationId="{A88EC61E-1F4D-2942-DCBE-22E474E59DBE}"/>
          </ac:spMkLst>
        </pc:spChg>
        <pc:spChg chg="add del mod">
          <ac:chgData name="Clark, Connie" userId="73351e60-ad32-4085-a232-1d9f9b189479" providerId="ADAL" clId="{5F87A5E2-C2A2-4F23-BC8C-28F7F5EA6CA7}" dt="2024-03-25T02:22:56.551" v="2552"/>
          <ac:spMkLst>
            <pc:docMk/>
            <pc:sldMk cId="1305518491" sldId="2147376782"/>
            <ac:spMk id="59" creationId="{F45921E5-4910-164D-ABC9-B6275A21321F}"/>
          </ac:spMkLst>
        </pc:spChg>
        <pc:spChg chg="add del mod">
          <ac:chgData name="Clark, Connie" userId="73351e60-ad32-4085-a232-1d9f9b189479" providerId="ADAL" clId="{5F87A5E2-C2A2-4F23-BC8C-28F7F5EA6CA7}" dt="2024-03-25T02:22:56.551" v="2552"/>
          <ac:spMkLst>
            <pc:docMk/>
            <pc:sldMk cId="1305518491" sldId="2147376782"/>
            <ac:spMk id="60" creationId="{1FCF6208-2F07-B965-3ADA-E387962E3601}"/>
          </ac:spMkLst>
        </pc:spChg>
        <pc:spChg chg="add del mod">
          <ac:chgData name="Clark, Connie" userId="73351e60-ad32-4085-a232-1d9f9b189479" providerId="ADAL" clId="{5F87A5E2-C2A2-4F23-BC8C-28F7F5EA6CA7}" dt="2024-03-25T02:22:56.551" v="2552"/>
          <ac:spMkLst>
            <pc:docMk/>
            <pc:sldMk cId="1305518491" sldId="2147376782"/>
            <ac:spMk id="61" creationId="{0B771FCA-769F-AD5D-C766-3328826D2B93}"/>
          </ac:spMkLst>
        </pc:spChg>
        <pc:spChg chg="add del mod">
          <ac:chgData name="Clark, Connie" userId="73351e60-ad32-4085-a232-1d9f9b189479" providerId="ADAL" clId="{5F87A5E2-C2A2-4F23-BC8C-28F7F5EA6CA7}" dt="2024-03-25T02:22:56.551" v="2552"/>
          <ac:spMkLst>
            <pc:docMk/>
            <pc:sldMk cId="1305518491" sldId="2147376782"/>
            <ac:spMk id="62" creationId="{A8AC04C2-F8D4-5EBE-5CC8-812E8A1A3DFA}"/>
          </ac:spMkLst>
        </pc:spChg>
        <pc:spChg chg="add del mod">
          <ac:chgData name="Clark, Connie" userId="73351e60-ad32-4085-a232-1d9f9b189479" providerId="ADAL" clId="{5F87A5E2-C2A2-4F23-BC8C-28F7F5EA6CA7}" dt="2024-03-25T02:22:56.551" v="2552"/>
          <ac:spMkLst>
            <pc:docMk/>
            <pc:sldMk cId="1305518491" sldId="2147376782"/>
            <ac:spMk id="64" creationId="{BC6FDD74-0EE6-54E9-15F2-BE3A72F04F8A}"/>
          </ac:spMkLst>
        </pc:spChg>
        <pc:spChg chg="add del mod">
          <ac:chgData name="Clark, Connie" userId="73351e60-ad32-4085-a232-1d9f9b189479" providerId="ADAL" clId="{5F87A5E2-C2A2-4F23-BC8C-28F7F5EA6CA7}" dt="2024-03-25T02:22:56.551" v="2552"/>
          <ac:spMkLst>
            <pc:docMk/>
            <pc:sldMk cId="1305518491" sldId="2147376782"/>
            <ac:spMk id="65" creationId="{4C5A13B7-F744-D63F-DC9D-DF73E1FF94A3}"/>
          </ac:spMkLst>
        </pc:spChg>
        <pc:spChg chg="add del mod">
          <ac:chgData name="Clark, Connie" userId="73351e60-ad32-4085-a232-1d9f9b189479" providerId="ADAL" clId="{5F87A5E2-C2A2-4F23-BC8C-28F7F5EA6CA7}" dt="2024-03-25T02:22:56.551" v="2552"/>
          <ac:spMkLst>
            <pc:docMk/>
            <pc:sldMk cId="1305518491" sldId="2147376782"/>
            <ac:spMk id="69" creationId="{3B8B80E0-2836-246E-34BA-7E0C011C8018}"/>
          </ac:spMkLst>
        </pc:spChg>
        <pc:spChg chg="add del mod">
          <ac:chgData name="Clark, Connie" userId="73351e60-ad32-4085-a232-1d9f9b189479" providerId="ADAL" clId="{5F87A5E2-C2A2-4F23-BC8C-28F7F5EA6CA7}" dt="2024-03-25T02:22:56.551" v="2552"/>
          <ac:spMkLst>
            <pc:docMk/>
            <pc:sldMk cId="1305518491" sldId="2147376782"/>
            <ac:spMk id="70" creationId="{5B2DC54D-4E35-5CE0-A38A-2631E6FE7CFE}"/>
          </ac:spMkLst>
        </pc:spChg>
        <pc:spChg chg="add del mod">
          <ac:chgData name="Clark, Connie" userId="73351e60-ad32-4085-a232-1d9f9b189479" providerId="ADAL" clId="{5F87A5E2-C2A2-4F23-BC8C-28F7F5EA6CA7}" dt="2024-03-25T02:22:56.551" v="2552"/>
          <ac:spMkLst>
            <pc:docMk/>
            <pc:sldMk cId="1305518491" sldId="2147376782"/>
            <ac:spMk id="72" creationId="{3F4F5913-08B5-029F-98C5-7CA085C9B881}"/>
          </ac:spMkLst>
        </pc:spChg>
        <pc:spChg chg="add del mod">
          <ac:chgData name="Clark, Connie" userId="73351e60-ad32-4085-a232-1d9f9b189479" providerId="ADAL" clId="{5F87A5E2-C2A2-4F23-BC8C-28F7F5EA6CA7}" dt="2024-03-25T02:22:56.551" v="2552"/>
          <ac:spMkLst>
            <pc:docMk/>
            <pc:sldMk cId="1305518491" sldId="2147376782"/>
            <ac:spMk id="75" creationId="{7B8223DB-9D94-FC1F-7DE8-238B167BF9F2}"/>
          </ac:spMkLst>
        </pc:spChg>
        <pc:spChg chg="add del mod">
          <ac:chgData name="Clark, Connie" userId="73351e60-ad32-4085-a232-1d9f9b189479" providerId="ADAL" clId="{5F87A5E2-C2A2-4F23-BC8C-28F7F5EA6CA7}" dt="2024-03-25T02:22:56.551" v="2552"/>
          <ac:spMkLst>
            <pc:docMk/>
            <pc:sldMk cId="1305518491" sldId="2147376782"/>
            <ac:spMk id="77" creationId="{EB78DFAC-FD61-997A-6000-C67ED6AEE88C}"/>
          </ac:spMkLst>
        </pc:spChg>
        <pc:spChg chg="add del mod">
          <ac:chgData name="Clark, Connie" userId="73351e60-ad32-4085-a232-1d9f9b189479" providerId="ADAL" clId="{5F87A5E2-C2A2-4F23-BC8C-28F7F5EA6CA7}" dt="2024-03-25T02:22:56.551" v="2552"/>
          <ac:spMkLst>
            <pc:docMk/>
            <pc:sldMk cId="1305518491" sldId="2147376782"/>
            <ac:spMk id="79" creationId="{6968D949-9504-CB3E-9336-EFC2C1E1D988}"/>
          </ac:spMkLst>
        </pc:spChg>
        <pc:spChg chg="add del mod">
          <ac:chgData name="Clark, Connie" userId="73351e60-ad32-4085-a232-1d9f9b189479" providerId="ADAL" clId="{5F87A5E2-C2A2-4F23-BC8C-28F7F5EA6CA7}" dt="2024-03-25T02:22:56.551" v="2552"/>
          <ac:spMkLst>
            <pc:docMk/>
            <pc:sldMk cId="1305518491" sldId="2147376782"/>
            <ac:spMk id="81" creationId="{24A83C02-BDAA-A1F2-0746-C9C35DC43B03}"/>
          </ac:spMkLst>
        </pc:spChg>
        <pc:spChg chg="add del mod">
          <ac:chgData name="Clark, Connie" userId="73351e60-ad32-4085-a232-1d9f9b189479" providerId="ADAL" clId="{5F87A5E2-C2A2-4F23-BC8C-28F7F5EA6CA7}" dt="2024-03-25T02:22:56.551" v="2552"/>
          <ac:spMkLst>
            <pc:docMk/>
            <pc:sldMk cId="1305518491" sldId="2147376782"/>
            <ac:spMk id="82" creationId="{C7E8C673-10BB-458F-471D-F6307D429926}"/>
          </ac:spMkLst>
        </pc:spChg>
        <pc:spChg chg="add del mod">
          <ac:chgData name="Clark, Connie" userId="73351e60-ad32-4085-a232-1d9f9b189479" providerId="ADAL" clId="{5F87A5E2-C2A2-4F23-BC8C-28F7F5EA6CA7}" dt="2024-03-25T02:22:56.551" v="2552"/>
          <ac:spMkLst>
            <pc:docMk/>
            <pc:sldMk cId="1305518491" sldId="2147376782"/>
            <ac:spMk id="84" creationId="{58771E8E-CAF8-A8CA-91D6-11902220806D}"/>
          </ac:spMkLst>
        </pc:spChg>
        <pc:spChg chg="add mod">
          <ac:chgData name="Clark, Connie" userId="73351e60-ad32-4085-a232-1d9f9b189479" providerId="ADAL" clId="{5F87A5E2-C2A2-4F23-BC8C-28F7F5EA6CA7}" dt="2024-03-25T04:26:20.063" v="4227" actId="1076"/>
          <ac:spMkLst>
            <pc:docMk/>
            <pc:sldMk cId="1305518491" sldId="2147376782"/>
            <ac:spMk id="85" creationId="{1CFFAF8D-67F2-DF15-F82F-870FA99E3431}"/>
          </ac:spMkLst>
        </pc:spChg>
        <pc:spChg chg="add mod">
          <ac:chgData name="Clark, Connie" userId="73351e60-ad32-4085-a232-1d9f9b189479" providerId="ADAL" clId="{5F87A5E2-C2A2-4F23-BC8C-28F7F5EA6CA7}" dt="2024-03-25T04:26:20.063" v="4227" actId="1076"/>
          <ac:spMkLst>
            <pc:docMk/>
            <pc:sldMk cId="1305518491" sldId="2147376782"/>
            <ac:spMk id="86" creationId="{B02BF1D3-E738-C943-5EE9-A726C31F8940}"/>
          </ac:spMkLst>
        </pc:spChg>
        <pc:spChg chg="add mod">
          <ac:chgData name="Clark, Connie" userId="73351e60-ad32-4085-a232-1d9f9b189479" providerId="ADAL" clId="{5F87A5E2-C2A2-4F23-BC8C-28F7F5EA6CA7}" dt="2024-03-25T04:26:20.063" v="4227" actId="1076"/>
          <ac:spMkLst>
            <pc:docMk/>
            <pc:sldMk cId="1305518491" sldId="2147376782"/>
            <ac:spMk id="87" creationId="{48409EDB-6031-5382-6A9D-6B2745D8F10D}"/>
          </ac:spMkLst>
        </pc:spChg>
        <pc:spChg chg="add mod">
          <ac:chgData name="Clark, Connie" userId="73351e60-ad32-4085-a232-1d9f9b189479" providerId="ADAL" clId="{5F87A5E2-C2A2-4F23-BC8C-28F7F5EA6CA7}" dt="2024-03-25T04:26:20.063" v="4227" actId="1076"/>
          <ac:spMkLst>
            <pc:docMk/>
            <pc:sldMk cId="1305518491" sldId="2147376782"/>
            <ac:spMk id="88" creationId="{88A3E0C2-FE66-0248-E11A-16E9E713A66F}"/>
          </ac:spMkLst>
        </pc:spChg>
        <pc:spChg chg="add mod">
          <ac:chgData name="Clark, Connie" userId="73351e60-ad32-4085-a232-1d9f9b189479" providerId="ADAL" clId="{5F87A5E2-C2A2-4F23-BC8C-28F7F5EA6CA7}" dt="2024-03-25T04:26:20.063" v="4227" actId="1076"/>
          <ac:spMkLst>
            <pc:docMk/>
            <pc:sldMk cId="1305518491" sldId="2147376782"/>
            <ac:spMk id="89" creationId="{2FF838F0-C393-9F9E-6434-F898B9179A9E}"/>
          </ac:spMkLst>
        </pc:spChg>
        <pc:spChg chg="add mod">
          <ac:chgData name="Clark, Connie" userId="73351e60-ad32-4085-a232-1d9f9b189479" providerId="ADAL" clId="{5F87A5E2-C2A2-4F23-BC8C-28F7F5EA6CA7}" dt="2024-03-25T04:26:20.063" v="4227" actId="1076"/>
          <ac:spMkLst>
            <pc:docMk/>
            <pc:sldMk cId="1305518491" sldId="2147376782"/>
            <ac:spMk id="90" creationId="{1F09CF1B-827A-3454-3D42-08EA5AB69F1E}"/>
          </ac:spMkLst>
        </pc:spChg>
        <pc:spChg chg="add mod">
          <ac:chgData name="Clark, Connie" userId="73351e60-ad32-4085-a232-1d9f9b189479" providerId="ADAL" clId="{5F87A5E2-C2A2-4F23-BC8C-28F7F5EA6CA7}" dt="2024-03-25T04:26:20.063" v="4227" actId="1076"/>
          <ac:spMkLst>
            <pc:docMk/>
            <pc:sldMk cId="1305518491" sldId="2147376782"/>
            <ac:spMk id="91" creationId="{D004112F-3178-7999-01BE-58FAA3FBFBA2}"/>
          </ac:spMkLst>
        </pc:spChg>
        <pc:spChg chg="add mod">
          <ac:chgData name="Clark, Connie" userId="73351e60-ad32-4085-a232-1d9f9b189479" providerId="ADAL" clId="{5F87A5E2-C2A2-4F23-BC8C-28F7F5EA6CA7}" dt="2024-03-25T04:26:20.063" v="4227" actId="1076"/>
          <ac:spMkLst>
            <pc:docMk/>
            <pc:sldMk cId="1305518491" sldId="2147376782"/>
            <ac:spMk id="93" creationId="{1340A11F-E13A-8CC0-624F-F99E8B7E8A53}"/>
          </ac:spMkLst>
        </pc:spChg>
        <pc:spChg chg="add mod">
          <ac:chgData name="Clark, Connie" userId="73351e60-ad32-4085-a232-1d9f9b189479" providerId="ADAL" clId="{5F87A5E2-C2A2-4F23-BC8C-28F7F5EA6CA7}" dt="2024-03-25T04:26:20.063" v="4227" actId="1076"/>
          <ac:spMkLst>
            <pc:docMk/>
            <pc:sldMk cId="1305518491" sldId="2147376782"/>
            <ac:spMk id="99" creationId="{12396BF8-2AD2-4EC9-A7E5-5F12A155E600}"/>
          </ac:spMkLst>
        </pc:spChg>
        <pc:spChg chg="add mod">
          <ac:chgData name="Clark, Connie" userId="73351e60-ad32-4085-a232-1d9f9b189479" providerId="ADAL" clId="{5F87A5E2-C2A2-4F23-BC8C-28F7F5EA6CA7}" dt="2024-03-25T04:26:20.063" v="4227" actId="1076"/>
          <ac:spMkLst>
            <pc:docMk/>
            <pc:sldMk cId="1305518491" sldId="2147376782"/>
            <ac:spMk id="100" creationId="{7D5168EF-ADE6-6BE0-0C88-F9ACA3EA8F68}"/>
          </ac:spMkLst>
        </pc:spChg>
        <pc:spChg chg="add mod">
          <ac:chgData name="Clark, Connie" userId="73351e60-ad32-4085-a232-1d9f9b189479" providerId="ADAL" clId="{5F87A5E2-C2A2-4F23-BC8C-28F7F5EA6CA7}" dt="2024-03-25T04:26:20.063" v="4227" actId="1076"/>
          <ac:spMkLst>
            <pc:docMk/>
            <pc:sldMk cId="1305518491" sldId="2147376782"/>
            <ac:spMk id="101" creationId="{DAF0725E-6E91-67CD-6C77-3E750B0F7390}"/>
          </ac:spMkLst>
        </pc:spChg>
        <pc:spChg chg="add mod">
          <ac:chgData name="Clark, Connie" userId="73351e60-ad32-4085-a232-1d9f9b189479" providerId="ADAL" clId="{5F87A5E2-C2A2-4F23-BC8C-28F7F5EA6CA7}" dt="2024-03-25T04:26:20.063" v="4227" actId="1076"/>
          <ac:spMkLst>
            <pc:docMk/>
            <pc:sldMk cId="1305518491" sldId="2147376782"/>
            <ac:spMk id="102" creationId="{5E0F7BF7-BA5F-EACD-EC97-6458A9FA7BAA}"/>
          </ac:spMkLst>
        </pc:spChg>
        <pc:spChg chg="add mod">
          <ac:chgData name="Clark, Connie" userId="73351e60-ad32-4085-a232-1d9f9b189479" providerId="ADAL" clId="{5F87A5E2-C2A2-4F23-BC8C-28F7F5EA6CA7}" dt="2024-03-25T04:26:20.063" v="4227" actId="1076"/>
          <ac:spMkLst>
            <pc:docMk/>
            <pc:sldMk cId="1305518491" sldId="2147376782"/>
            <ac:spMk id="103" creationId="{389392DC-E912-053F-CCC7-8472FE8566B5}"/>
          </ac:spMkLst>
        </pc:spChg>
        <pc:spChg chg="add mod">
          <ac:chgData name="Clark, Connie" userId="73351e60-ad32-4085-a232-1d9f9b189479" providerId="ADAL" clId="{5F87A5E2-C2A2-4F23-BC8C-28F7F5EA6CA7}" dt="2024-03-25T04:26:20.063" v="4227" actId="1076"/>
          <ac:spMkLst>
            <pc:docMk/>
            <pc:sldMk cId="1305518491" sldId="2147376782"/>
            <ac:spMk id="104" creationId="{B9DBBF45-9B29-998D-EEAF-A3E5CD5F5413}"/>
          </ac:spMkLst>
        </pc:spChg>
        <pc:spChg chg="add mod">
          <ac:chgData name="Clark, Connie" userId="73351e60-ad32-4085-a232-1d9f9b189479" providerId="ADAL" clId="{5F87A5E2-C2A2-4F23-BC8C-28F7F5EA6CA7}" dt="2024-03-25T04:26:20.063" v="4227" actId="1076"/>
          <ac:spMkLst>
            <pc:docMk/>
            <pc:sldMk cId="1305518491" sldId="2147376782"/>
            <ac:spMk id="105" creationId="{8F8D0633-26A0-BD1D-CDB5-9DDF3C418DD8}"/>
          </ac:spMkLst>
        </pc:spChg>
        <pc:spChg chg="add mod">
          <ac:chgData name="Clark, Connie" userId="73351e60-ad32-4085-a232-1d9f9b189479" providerId="ADAL" clId="{5F87A5E2-C2A2-4F23-BC8C-28F7F5EA6CA7}" dt="2024-03-25T04:26:20.063" v="4227" actId="1076"/>
          <ac:spMkLst>
            <pc:docMk/>
            <pc:sldMk cId="1305518491" sldId="2147376782"/>
            <ac:spMk id="106" creationId="{061C84DF-D61D-903C-F8BF-64C60903EA13}"/>
          </ac:spMkLst>
        </pc:spChg>
        <pc:spChg chg="add mod">
          <ac:chgData name="Clark, Connie" userId="73351e60-ad32-4085-a232-1d9f9b189479" providerId="ADAL" clId="{5F87A5E2-C2A2-4F23-BC8C-28F7F5EA6CA7}" dt="2024-03-25T04:26:20.063" v="4227" actId="1076"/>
          <ac:spMkLst>
            <pc:docMk/>
            <pc:sldMk cId="1305518491" sldId="2147376782"/>
            <ac:spMk id="107" creationId="{BD64F859-C9E8-FB49-4455-409CB227200E}"/>
          </ac:spMkLst>
        </pc:spChg>
        <pc:spChg chg="add mod">
          <ac:chgData name="Clark, Connie" userId="73351e60-ad32-4085-a232-1d9f9b189479" providerId="ADAL" clId="{5F87A5E2-C2A2-4F23-BC8C-28F7F5EA6CA7}" dt="2024-03-25T04:26:20.063" v="4227" actId="1076"/>
          <ac:spMkLst>
            <pc:docMk/>
            <pc:sldMk cId="1305518491" sldId="2147376782"/>
            <ac:spMk id="108" creationId="{FFFDC234-9D05-3B23-862A-D89D0F4D2498}"/>
          </ac:spMkLst>
        </pc:spChg>
        <pc:spChg chg="add mod">
          <ac:chgData name="Clark, Connie" userId="73351e60-ad32-4085-a232-1d9f9b189479" providerId="ADAL" clId="{5F87A5E2-C2A2-4F23-BC8C-28F7F5EA6CA7}" dt="2024-03-25T04:26:20.063" v="4227" actId="1076"/>
          <ac:spMkLst>
            <pc:docMk/>
            <pc:sldMk cId="1305518491" sldId="2147376782"/>
            <ac:spMk id="113" creationId="{A5115668-4E9D-4999-D9CE-1B1A371E4021}"/>
          </ac:spMkLst>
        </pc:spChg>
        <pc:spChg chg="add mod">
          <ac:chgData name="Clark, Connie" userId="73351e60-ad32-4085-a232-1d9f9b189479" providerId="ADAL" clId="{5F87A5E2-C2A2-4F23-BC8C-28F7F5EA6CA7}" dt="2024-03-29T23:41:12.688" v="8829" actId="20577"/>
          <ac:spMkLst>
            <pc:docMk/>
            <pc:sldMk cId="1305518491" sldId="2147376782"/>
            <ac:spMk id="114" creationId="{B6C82F5B-E655-2D81-7769-9F48A46C1EC0}"/>
          </ac:spMkLst>
        </pc:spChg>
        <pc:spChg chg="add del mod">
          <ac:chgData name="Clark, Connie" userId="73351e60-ad32-4085-a232-1d9f9b189479" providerId="ADAL" clId="{5F87A5E2-C2A2-4F23-BC8C-28F7F5EA6CA7}" dt="2024-03-25T02:55:16.892" v="3373" actId="478"/>
          <ac:spMkLst>
            <pc:docMk/>
            <pc:sldMk cId="1305518491" sldId="2147376782"/>
            <ac:spMk id="115" creationId="{BAD37710-04A9-A5F3-7555-1593D85E88D3}"/>
          </ac:spMkLst>
        </pc:spChg>
        <pc:spChg chg="add del mod">
          <ac:chgData name="Clark, Connie" userId="73351e60-ad32-4085-a232-1d9f9b189479" providerId="ADAL" clId="{5F87A5E2-C2A2-4F23-BC8C-28F7F5EA6CA7}" dt="2024-03-25T02:55:14.148" v="3371" actId="478"/>
          <ac:spMkLst>
            <pc:docMk/>
            <pc:sldMk cId="1305518491" sldId="2147376782"/>
            <ac:spMk id="117" creationId="{7564E5FE-6E9C-10AC-4065-2FEAE174F8B0}"/>
          </ac:spMkLst>
        </pc:spChg>
        <pc:spChg chg="add mod">
          <ac:chgData name="Clark, Connie" userId="73351e60-ad32-4085-a232-1d9f9b189479" providerId="ADAL" clId="{5F87A5E2-C2A2-4F23-BC8C-28F7F5EA6CA7}" dt="2024-03-25T04:26:20.063" v="4227" actId="1076"/>
          <ac:spMkLst>
            <pc:docMk/>
            <pc:sldMk cId="1305518491" sldId="2147376782"/>
            <ac:spMk id="123" creationId="{90E3E005-3FB8-8148-9A72-014011CDF181}"/>
          </ac:spMkLst>
        </pc:spChg>
        <pc:spChg chg="add mod">
          <ac:chgData name="Clark, Connie" userId="73351e60-ad32-4085-a232-1d9f9b189479" providerId="ADAL" clId="{5F87A5E2-C2A2-4F23-BC8C-28F7F5EA6CA7}" dt="2024-03-25T04:26:20.063" v="4227" actId="1076"/>
          <ac:spMkLst>
            <pc:docMk/>
            <pc:sldMk cId="1305518491" sldId="2147376782"/>
            <ac:spMk id="124" creationId="{4075E8B1-49FC-3AF8-E84E-015F29C6713F}"/>
          </ac:spMkLst>
        </pc:spChg>
        <pc:spChg chg="add mod">
          <ac:chgData name="Clark, Connie" userId="73351e60-ad32-4085-a232-1d9f9b189479" providerId="ADAL" clId="{5F87A5E2-C2A2-4F23-BC8C-28F7F5EA6CA7}" dt="2024-03-25T04:26:20.063" v="4227" actId="1076"/>
          <ac:spMkLst>
            <pc:docMk/>
            <pc:sldMk cId="1305518491" sldId="2147376782"/>
            <ac:spMk id="125" creationId="{FA6CCBB3-FD21-9FCD-FEDF-11D2F765E76F}"/>
          </ac:spMkLst>
        </pc:spChg>
        <pc:spChg chg="add mod">
          <ac:chgData name="Clark, Connie" userId="73351e60-ad32-4085-a232-1d9f9b189479" providerId="ADAL" clId="{5F87A5E2-C2A2-4F23-BC8C-28F7F5EA6CA7}" dt="2024-03-25T04:26:20.063" v="4227" actId="1076"/>
          <ac:spMkLst>
            <pc:docMk/>
            <pc:sldMk cId="1305518491" sldId="2147376782"/>
            <ac:spMk id="126" creationId="{D96BE001-6396-B631-1018-85B3BC6A1E56}"/>
          </ac:spMkLst>
        </pc:spChg>
        <pc:spChg chg="add mod">
          <ac:chgData name="Clark, Connie" userId="73351e60-ad32-4085-a232-1d9f9b189479" providerId="ADAL" clId="{5F87A5E2-C2A2-4F23-BC8C-28F7F5EA6CA7}" dt="2024-03-25T04:26:20.063" v="4227" actId="1076"/>
          <ac:spMkLst>
            <pc:docMk/>
            <pc:sldMk cId="1305518491" sldId="2147376782"/>
            <ac:spMk id="127" creationId="{71043FD1-B956-AB46-1ED6-1E17F0E92DFC}"/>
          </ac:spMkLst>
        </pc:spChg>
        <pc:spChg chg="add mod">
          <ac:chgData name="Clark, Connie" userId="73351e60-ad32-4085-a232-1d9f9b189479" providerId="ADAL" clId="{5F87A5E2-C2A2-4F23-BC8C-28F7F5EA6CA7}" dt="2024-03-25T04:26:20.063" v="4227" actId="1076"/>
          <ac:spMkLst>
            <pc:docMk/>
            <pc:sldMk cId="1305518491" sldId="2147376782"/>
            <ac:spMk id="128" creationId="{A5FEA061-87E5-0826-984B-621F3E972534}"/>
          </ac:spMkLst>
        </pc:spChg>
        <pc:spChg chg="add mod">
          <ac:chgData name="Clark, Connie" userId="73351e60-ad32-4085-a232-1d9f9b189479" providerId="ADAL" clId="{5F87A5E2-C2A2-4F23-BC8C-28F7F5EA6CA7}" dt="2024-03-25T04:26:20.063" v="4227" actId="1076"/>
          <ac:spMkLst>
            <pc:docMk/>
            <pc:sldMk cId="1305518491" sldId="2147376782"/>
            <ac:spMk id="129" creationId="{41ADCCF3-89DD-D44A-D4CD-AD8023402933}"/>
          </ac:spMkLst>
        </pc:spChg>
        <pc:spChg chg="add mod">
          <ac:chgData name="Clark, Connie" userId="73351e60-ad32-4085-a232-1d9f9b189479" providerId="ADAL" clId="{5F87A5E2-C2A2-4F23-BC8C-28F7F5EA6CA7}" dt="2024-03-25T04:26:20.063" v="4227" actId="1076"/>
          <ac:spMkLst>
            <pc:docMk/>
            <pc:sldMk cId="1305518491" sldId="2147376782"/>
            <ac:spMk id="130" creationId="{30F32150-0615-06F3-B76F-0C0D37BDED49}"/>
          </ac:spMkLst>
        </pc:spChg>
        <pc:spChg chg="add mod">
          <ac:chgData name="Clark, Connie" userId="73351e60-ad32-4085-a232-1d9f9b189479" providerId="ADAL" clId="{5F87A5E2-C2A2-4F23-BC8C-28F7F5EA6CA7}" dt="2024-03-25T04:26:20.063" v="4227" actId="1076"/>
          <ac:spMkLst>
            <pc:docMk/>
            <pc:sldMk cId="1305518491" sldId="2147376782"/>
            <ac:spMk id="131" creationId="{EE28AADF-235A-B25A-9BF3-CC6A15D204AA}"/>
          </ac:spMkLst>
        </pc:spChg>
        <pc:spChg chg="add mod">
          <ac:chgData name="Clark, Connie" userId="73351e60-ad32-4085-a232-1d9f9b189479" providerId="ADAL" clId="{5F87A5E2-C2A2-4F23-BC8C-28F7F5EA6CA7}" dt="2024-03-25T04:26:20.063" v="4227" actId="1076"/>
          <ac:spMkLst>
            <pc:docMk/>
            <pc:sldMk cId="1305518491" sldId="2147376782"/>
            <ac:spMk id="132" creationId="{A3719DA0-2D5A-2B55-949D-BCAFDB241E2F}"/>
          </ac:spMkLst>
        </pc:spChg>
        <pc:spChg chg="add mod">
          <ac:chgData name="Clark, Connie" userId="73351e60-ad32-4085-a232-1d9f9b189479" providerId="ADAL" clId="{5F87A5E2-C2A2-4F23-BC8C-28F7F5EA6CA7}" dt="2024-03-25T04:26:20.063" v="4227" actId="1076"/>
          <ac:spMkLst>
            <pc:docMk/>
            <pc:sldMk cId="1305518491" sldId="2147376782"/>
            <ac:spMk id="133" creationId="{D6D37596-4256-6D84-8678-4045124E0976}"/>
          </ac:spMkLst>
        </pc:spChg>
        <pc:spChg chg="add mod">
          <ac:chgData name="Clark, Connie" userId="73351e60-ad32-4085-a232-1d9f9b189479" providerId="ADAL" clId="{5F87A5E2-C2A2-4F23-BC8C-28F7F5EA6CA7}" dt="2024-03-25T04:26:20.063" v="4227" actId="1076"/>
          <ac:spMkLst>
            <pc:docMk/>
            <pc:sldMk cId="1305518491" sldId="2147376782"/>
            <ac:spMk id="134" creationId="{B1933A00-0A48-C6ED-8E8E-88F242DB9F12}"/>
          </ac:spMkLst>
        </pc:spChg>
        <pc:spChg chg="add mod">
          <ac:chgData name="Clark, Connie" userId="73351e60-ad32-4085-a232-1d9f9b189479" providerId="ADAL" clId="{5F87A5E2-C2A2-4F23-BC8C-28F7F5EA6CA7}" dt="2024-03-25T04:26:20.063" v="4227" actId="1076"/>
          <ac:spMkLst>
            <pc:docMk/>
            <pc:sldMk cId="1305518491" sldId="2147376782"/>
            <ac:spMk id="135" creationId="{B39499A8-FF3F-53B4-6BB5-17571D585BC8}"/>
          </ac:spMkLst>
        </pc:spChg>
        <pc:spChg chg="add mod">
          <ac:chgData name="Clark, Connie" userId="73351e60-ad32-4085-a232-1d9f9b189479" providerId="ADAL" clId="{5F87A5E2-C2A2-4F23-BC8C-28F7F5EA6CA7}" dt="2024-03-25T04:26:20.063" v="4227" actId="1076"/>
          <ac:spMkLst>
            <pc:docMk/>
            <pc:sldMk cId="1305518491" sldId="2147376782"/>
            <ac:spMk id="136" creationId="{17C6E940-6F41-5862-A818-030385902E23}"/>
          </ac:spMkLst>
        </pc:spChg>
        <pc:spChg chg="add del mod">
          <ac:chgData name="Clark, Connie" userId="73351e60-ad32-4085-a232-1d9f9b189479" providerId="ADAL" clId="{5F87A5E2-C2A2-4F23-BC8C-28F7F5EA6CA7}" dt="2024-03-25T02:24:10.377" v="2560" actId="478"/>
          <ac:spMkLst>
            <pc:docMk/>
            <pc:sldMk cId="1305518491" sldId="2147376782"/>
            <ac:spMk id="137" creationId="{7E724C43-2712-61DF-0437-EA0EDF1A6677}"/>
          </ac:spMkLst>
        </pc:spChg>
        <pc:spChg chg="add del mod">
          <ac:chgData name="Clark, Connie" userId="73351e60-ad32-4085-a232-1d9f9b189479" providerId="ADAL" clId="{5F87A5E2-C2A2-4F23-BC8C-28F7F5EA6CA7}" dt="2024-03-25T13:35:09.218" v="4386" actId="478"/>
          <ac:spMkLst>
            <pc:docMk/>
            <pc:sldMk cId="1305518491" sldId="2147376782"/>
            <ac:spMk id="138" creationId="{3DD602FD-A3B1-4A21-538B-BBF12A8D1693}"/>
          </ac:spMkLst>
        </pc:spChg>
        <pc:spChg chg="add mod">
          <ac:chgData name="Clark, Connie" userId="73351e60-ad32-4085-a232-1d9f9b189479" providerId="ADAL" clId="{5F87A5E2-C2A2-4F23-BC8C-28F7F5EA6CA7}" dt="2024-03-29T23:41:00.382" v="8820" actId="20577"/>
          <ac:spMkLst>
            <pc:docMk/>
            <pc:sldMk cId="1305518491" sldId="2147376782"/>
            <ac:spMk id="139" creationId="{6FD6685D-4203-7D03-DAEC-CE9CBA1E0A5F}"/>
          </ac:spMkLst>
        </pc:spChg>
        <pc:spChg chg="add mod">
          <ac:chgData name="Clark, Connie" userId="73351e60-ad32-4085-a232-1d9f9b189479" providerId="ADAL" clId="{5F87A5E2-C2A2-4F23-BC8C-28F7F5EA6CA7}" dt="2024-03-25T04:26:20.063" v="4227" actId="1076"/>
          <ac:spMkLst>
            <pc:docMk/>
            <pc:sldMk cId="1305518491" sldId="2147376782"/>
            <ac:spMk id="140" creationId="{793A8C67-03F3-B049-66B8-C30C1FD3629F}"/>
          </ac:spMkLst>
        </pc:spChg>
        <pc:spChg chg="add mod">
          <ac:chgData name="Clark, Connie" userId="73351e60-ad32-4085-a232-1d9f9b189479" providerId="ADAL" clId="{5F87A5E2-C2A2-4F23-BC8C-28F7F5EA6CA7}" dt="2024-03-25T04:26:20.063" v="4227" actId="1076"/>
          <ac:spMkLst>
            <pc:docMk/>
            <pc:sldMk cId="1305518491" sldId="2147376782"/>
            <ac:spMk id="142" creationId="{71E8D36D-5D8F-A85E-6C55-B3CD86A79A91}"/>
          </ac:spMkLst>
        </pc:spChg>
        <pc:spChg chg="add mod">
          <ac:chgData name="Clark, Connie" userId="73351e60-ad32-4085-a232-1d9f9b189479" providerId="ADAL" clId="{5F87A5E2-C2A2-4F23-BC8C-28F7F5EA6CA7}" dt="2024-03-25T04:26:20.063" v="4227" actId="1076"/>
          <ac:spMkLst>
            <pc:docMk/>
            <pc:sldMk cId="1305518491" sldId="2147376782"/>
            <ac:spMk id="143" creationId="{8EBFEE5D-04BF-7AA8-22F2-203C0F190942}"/>
          </ac:spMkLst>
        </pc:spChg>
        <pc:spChg chg="add mod">
          <ac:chgData name="Clark, Connie" userId="73351e60-ad32-4085-a232-1d9f9b189479" providerId="ADAL" clId="{5F87A5E2-C2A2-4F23-BC8C-28F7F5EA6CA7}" dt="2024-03-29T23:41:07.027" v="8825" actId="20577"/>
          <ac:spMkLst>
            <pc:docMk/>
            <pc:sldMk cId="1305518491" sldId="2147376782"/>
            <ac:spMk id="147" creationId="{73372E18-42B4-C4AF-F036-ED93EF904F85}"/>
          </ac:spMkLst>
        </pc:spChg>
        <pc:spChg chg="add mod">
          <ac:chgData name="Clark, Connie" userId="73351e60-ad32-4085-a232-1d9f9b189479" providerId="ADAL" clId="{5F87A5E2-C2A2-4F23-BC8C-28F7F5EA6CA7}" dt="2024-03-25T04:26:20.063" v="4227" actId="1076"/>
          <ac:spMkLst>
            <pc:docMk/>
            <pc:sldMk cId="1305518491" sldId="2147376782"/>
            <ac:spMk id="148" creationId="{3AA418C2-4437-57D0-7340-C11112637033}"/>
          </ac:spMkLst>
        </pc:spChg>
        <pc:spChg chg="add mod">
          <ac:chgData name="Clark, Connie" userId="73351e60-ad32-4085-a232-1d9f9b189479" providerId="ADAL" clId="{5F87A5E2-C2A2-4F23-BC8C-28F7F5EA6CA7}" dt="2024-03-25T04:26:20.063" v="4227" actId="1076"/>
          <ac:spMkLst>
            <pc:docMk/>
            <pc:sldMk cId="1305518491" sldId="2147376782"/>
            <ac:spMk id="150" creationId="{DC02DC64-44E5-23E2-312B-F780523F138F}"/>
          </ac:spMkLst>
        </pc:spChg>
        <pc:spChg chg="add mod">
          <ac:chgData name="Clark, Connie" userId="73351e60-ad32-4085-a232-1d9f9b189479" providerId="ADAL" clId="{5F87A5E2-C2A2-4F23-BC8C-28F7F5EA6CA7}" dt="2024-03-25T04:26:20.063" v="4227" actId="1076"/>
          <ac:spMkLst>
            <pc:docMk/>
            <pc:sldMk cId="1305518491" sldId="2147376782"/>
            <ac:spMk id="153" creationId="{A5D84D0A-55B5-84F4-4CEC-FAC3896098C5}"/>
          </ac:spMkLst>
        </pc:spChg>
        <pc:spChg chg="add del mod">
          <ac:chgData name="Clark, Connie" userId="73351e60-ad32-4085-a232-1d9f9b189479" providerId="ADAL" clId="{5F87A5E2-C2A2-4F23-BC8C-28F7F5EA6CA7}" dt="2024-03-25T02:55:21.125" v="3375" actId="478"/>
          <ac:spMkLst>
            <pc:docMk/>
            <pc:sldMk cId="1305518491" sldId="2147376782"/>
            <ac:spMk id="155" creationId="{B00DD745-8D56-360B-5486-F677F4C7FC93}"/>
          </ac:spMkLst>
        </pc:spChg>
        <pc:spChg chg="add del mod">
          <ac:chgData name="Clark, Connie" userId="73351e60-ad32-4085-a232-1d9f9b189479" providerId="ADAL" clId="{5F87A5E2-C2A2-4F23-BC8C-28F7F5EA6CA7}" dt="2024-03-25T02:55:20.018" v="3374" actId="478"/>
          <ac:spMkLst>
            <pc:docMk/>
            <pc:sldMk cId="1305518491" sldId="2147376782"/>
            <ac:spMk id="157" creationId="{A4C1E243-661E-8DC6-4780-C7638B5843EE}"/>
          </ac:spMkLst>
        </pc:spChg>
        <pc:spChg chg="add mod">
          <ac:chgData name="Clark, Connie" userId="73351e60-ad32-4085-a232-1d9f9b189479" providerId="ADAL" clId="{5F87A5E2-C2A2-4F23-BC8C-28F7F5EA6CA7}" dt="2024-03-25T04:26:20.063" v="4227" actId="1076"/>
          <ac:spMkLst>
            <pc:docMk/>
            <pc:sldMk cId="1305518491" sldId="2147376782"/>
            <ac:spMk id="159" creationId="{CAD2F19B-3B73-081A-2020-15F2F4CF4636}"/>
          </ac:spMkLst>
        </pc:spChg>
        <pc:spChg chg="add mod">
          <ac:chgData name="Clark, Connie" userId="73351e60-ad32-4085-a232-1d9f9b189479" providerId="ADAL" clId="{5F87A5E2-C2A2-4F23-BC8C-28F7F5EA6CA7}" dt="2024-03-25T04:26:20.063" v="4227" actId="1076"/>
          <ac:spMkLst>
            <pc:docMk/>
            <pc:sldMk cId="1305518491" sldId="2147376782"/>
            <ac:spMk id="160" creationId="{3025646D-C33F-17EB-BB86-8E677B1AF685}"/>
          </ac:spMkLst>
        </pc:spChg>
        <pc:spChg chg="add mod">
          <ac:chgData name="Clark, Connie" userId="73351e60-ad32-4085-a232-1d9f9b189479" providerId="ADAL" clId="{5F87A5E2-C2A2-4F23-BC8C-28F7F5EA6CA7}" dt="2024-03-29T23:51:01.486" v="8875" actId="20577"/>
          <ac:spMkLst>
            <pc:docMk/>
            <pc:sldMk cId="1305518491" sldId="2147376782"/>
            <ac:spMk id="162" creationId="{6D947AB7-1774-262F-D522-0BE897BBC2DF}"/>
          </ac:spMkLst>
        </pc:spChg>
        <pc:spChg chg="add mod">
          <ac:chgData name="Clark, Connie" userId="73351e60-ad32-4085-a232-1d9f9b189479" providerId="ADAL" clId="{5F87A5E2-C2A2-4F23-BC8C-28F7F5EA6CA7}" dt="2024-03-30T00:54:00.640" v="11150" actId="20577"/>
          <ac:spMkLst>
            <pc:docMk/>
            <pc:sldMk cId="1305518491" sldId="2147376782"/>
            <ac:spMk id="176" creationId="{7904F9E7-6A77-80B1-9CDB-2717F95B7975}"/>
          </ac:spMkLst>
        </pc:spChg>
        <pc:spChg chg="add mod">
          <ac:chgData name="Clark, Connie" userId="73351e60-ad32-4085-a232-1d9f9b189479" providerId="ADAL" clId="{5F87A5E2-C2A2-4F23-BC8C-28F7F5EA6CA7}" dt="2024-03-30T00:55:08.572" v="11210" actId="113"/>
          <ac:spMkLst>
            <pc:docMk/>
            <pc:sldMk cId="1305518491" sldId="2147376782"/>
            <ac:spMk id="177" creationId="{17B6D0C4-6F94-BA62-2289-990E84E4C233}"/>
          </ac:spMkLst>
        </pc:spChg>
        <pc:spChg chg="add mod">
          <ac:chgData name="Clark, Connie" userId="73351e60-ad32-4085-a232-1d9f9b189479" providerId="ADAL" clId="{5F87A5E2-C2A2-4F23-BC8C-28F7F5EA6CA7}" dt="2024-03-30T00:54:40.412" v="11208" actId="1036"/>
          <ac:spMkLst>
            <pc:docMk/>
            <pc:sldMk cId="1305518491" sldId="2147376782"/>
            <ac:spMk id="193" creationId="{B4F0F613-6D21-4180-9620-6323706F8A08}"/>
          </ac:spMkLst>
        </pc:spChg>
        <pc:spChg chg="add mod">
          <ac:chgData name="Clark, Connie" userId="73351e60-ad32-4085-a232-1d9f9b189479" providerId="ADAL" clId="{5F87A5E2-C2A2-4F23-BC8C-28F7F5EA6CA7}" dt="2024-03-30T00:56:41.446" v="11219" actId="12"/>
          <ac:spMkLst>
            <pc:docMk/>
            <pc:sldMk cId="1305518491" sldId="2147376782"/>
            <ac:spMk id="196" creationId="{0C54BCB8-69C7-541F-DE82-F67808167BFE}"/>
          </ac:spMkLst>
        </pc:spChg>
        <pc:spChg chg="add mod">
          <ac:chgData name="Clark, Connie" userId="73351e60-ad32-4085-a232-1d9f9b189479" providerId="ADAL" clId="{5F87A5E2-C2A2-4F23-BC8C-28F7F5EA6CA7}" dt="2024-03-30T00:57:11.138" v="11223" actId="122"/>
          <ac:spMkLst>
            <pc:docMk/>
            <pc:sldMk cId="1305518491" sldId="2147376782"/>
            <ac:spMk id="198" creationId="{B6D79510-081E-E331-49D6-B54DE1792C72}"/>
          </ac:spMkLst>
        </pc:spChg>
        <pc:spChg chg="add mod">
          <ac:chgData name="Clark, Connie" userId="73351e60-ad32-4085-a232-1d9f9b189479" providerId="ADAL" clId="{5F87A5E2-C2A2-4F23-BC8C-28F7F5EA6CA7}" dt="2024-03-30T00:57:26.643" v="11225" actId="1076"/>
          <ac:spMkLst>
            <pc:docMk/>
            <pc:sldMk cId="1305518491" sldId="2147376782"/>
            <ac:spMk id="200" creationId="{7674B571-E5D4-A4B2-03FC-A21088CD2785}"/>
          </ac:spMkLst>
        </pc:spChg>
        <pc:spChg chg="add mod">
          <ac:chgData name="Clark, Connie" userId="73351e60-ad32-4085-a232-1d9f9b189479" providerId="ADAL" clId="{5F87A5E2-C2A2-4F23-BC8C-28F7F5EA6CA7}" dt="2024-03-30T00:57:36.412" v="11227" actId="1076"/>
          <ac:spMkLst>
            <pc:docMk/>
            <pc:sldMk cId="1305518491" sldId="2147376782"/>
            <ac:spMk id="202" creationId="{ED322CA2-82A4-6ED1-A33E-FD4A82C7E638}"/>
          </ac:spMkLst>
        </pc:spChg>
        <pc:spChg chg="add mod">
          <ac:chgData name="Clark, Connie" userId="73351e60-ad32-4085-a232-1d9f9b189479" providerId="ADAL" clId="{5F87A5E2-C2A2-4F23-BC8C-28F7F5EA6CA7}" dt="2024-03-30T00:57:52.182" v="11230" actId="1076"/>
          <ac:spMkLst>
            <pc:docMk/>
            <pc:sldMk cId="1305518491" sldId="2147376782"/>
            <ac:spMk id="204" creationId="{8A824EFB-AC65-210A-0B00-99B2FFB481A8}"/>
          </ac:spMkLst>
        </pc:spChg>
        <pc:spChg chg="add mod">
          <ac:chgData name="Clark, Connie" userId="73351e60-ad32-4085-a232-1d9f9b189479" providerId="ADAL" clId="{5F87A5E2-C2A2-4F23-BC8C-28F7F5EA6CA7}" dt="2024-03-30T00:56:54.324" v="11221" actId="1076"/>
          <ac:spMkLst>
            <pc:docMk/>
            <pc:sldMk cId="1305518491" sldId="2147376782"/>
            <ac:spMk id="205" creationId="{8779E53B-1BC6-D772-77DE-DFC5D696BCBD}"/>
          </ac:spMkLst>
        </pc:spChg>
        <pc:picChg chg="add del mod">
          <ac:chgData name="Clark, Connie" userId="73351e60-ad32-4085-a232-1d9f9b189479" providerId="ADAL" clId="{5F87A5E2-C2A2-4F23-BC8C-28F7F5EA6CA7}" dt="2024-03-25T04:27:14.775" v="4232" actId="478"/>
          <ac:picMkLst>
            <pc:docMk/>
            <pc:sldMk cId="1305518491" sldId="2147376782"/>
            <ac:picMk id="192" creationId="{5368EED4-3AA8-8865-3DB6-8571AD19C195}"/>
          </ac:picMkLst>
        </pc:picChg>
        <pc:picChg chg="add mod">
          <ac:chgData name="Clark, Connie" userId="73351e60-ad32-4085-a232-1d9f9b189479" providerId="ADAL" clId="{5F87A5E2-C2A2-4F23-BC8C-28F7F5EA6CA7}" dt="2024-03-30T00:54:35.430" v="11189" actId="1036"/>
          <ac:picMkLst>
            <pc:docMk/>
            <pc:sldMk cId="1305518491" sldId="2147376782"/>
            <ac:picMk id="194" creationId="{67659AFF-2CBC-A401-5AAA-E32F4E2CDF5D}"/>
          </ac:picMkLst>
        </pc:picChg>
        <pc:cxnChg chg="add del mod">
          <ac:chgData name="Clark, Connie" userId="73351e60-ad32-4085-a232-1d9f9b189479" providerId="ADAL" clId="{5F87A5E2-C2A2-4F23-BC8C-28F7F5EA6CA7}" dt="2024-03-25T02:22:56.551" v="2552"/>
          <ac:cxnSpMkLst>
            <pc:docMk/>
            <pc:sldMk cId="1305518491" sldId="2147376782"/>
            <ac:cxnSpMk id="14" creationId="{DC85EDCA-3FDB-74EF-3EFA-BD033901C675}"/>
          </ac:cxnSpMkLst>
        </pc:cxnChg>
        <pc:cxnChg chg="add del mod">
          <ac:chgData name="Clark, Connie" userId="73351e60-ad32-4085-a232-1d9f9b189479" providerId="ADAL" clId="{5F87A5E2-C2A2-4F23-BC8C-28F7F5EA6CA7}" dt="2024-03-25T02:22:56.551" v="2552"/>
          <ac:cxnSpMkLst>
            <pc:docMk/>
            <pc:sldMk cId="1305518491" sldId="2147376782"/>
            <ac:cxnSpMk id="16" creationId="{5FE99FA8-1005-5E14-EF75-AC501852C101}"/>
          </ac:cxnSpMkLst>
        </pc:cxnChg>
        <pc:cxnChg chg="add del mod">
          <ac:chgData name="Clark, Connie" userId="73351e60-ad32-4085-a232-1d9f9b189479" providerId="ADAL" clId="{5F87A5E2-C2A2-4F23-BC8C-28F7F5EA6CA7}" dt="2024-03-25T02:22:56.551" v="2552"/>
          <ac:cxnSpMkLst>
            <pc:docMk/>
            <pc:sldMk cId="1305518491" sldId="2147376782"/>
            <ac:cxnSpMk id="17" creationId="{FF10D436-28E6-928E-E3B9-7AD4535EE49B}"/>
          </ac:cxnSpMkLst>
        </pc:cxnChg>
        <pc:cxnChg chg="add del mod">
          <ac:chgData name="Clark, Connie" userId="73351e60-ad32-4085-a232-1d9f9b189479" providerId="ADAL" clId="{5F87A5E2-C2A2-4F23-BC8C-28F7F5EA6CA7}" dt="2024-03-25T02:22:56.551" v="2552"/>
          <ac:cxnSpMkLst>
            <pc:docMk/>
            <pc:sldMk cId="1305518491" sldId="2147376782"/>
            <ac:cxnSpMk id="18" creationId="{9B74FC42-628C-E141-E357-79AEC9A08B65}"/>
          </ac:cxnSpMkLst>
        </pc:cxnChg>
        <pc:cxnChg chg="add del mod">
          <ac:chgData name="Clark, Connie" userId="73351e60-ad32-4085-a232-1d9f9b189479" providerId="ADAL" clId="{5F87A5E2-C2A2-4F23-BC8C-28F7F5EA6CA7}" dt="2024-03-25T02:22:56.551" v="2552"/>
          <ac:cxnSpMkLst>
            <pc:docMk/>
            <pc:sldMk cId="1305518491" sldId="2147376782"/>
            <ac:cxnSpMk id="19" creationId="{184BCDE4-B217-89CE-EDE3-60069D0E0780}"/>
          </ac:cxnSpMkLst>
        </pc:cxnChg>
        <pc:cxnChg chg="add del mod">
          <ac:chgData name="Clark, Connie" userId="73351e60-ad32-4085-a232-1d9f9b189479" providerId="ADAL" clId="{5F87A5E2-C2A2-4F23-BC8C-28F7F5EA6CA7}" dt="2024-03-25T02:22:56.551" v="2552"/>
          <ac:cxnSpMkLst>
            <pc:docMk/>
            <pc:sldMk cId="1305518491" sldId="2147376782"/>
            <ac:cxnSpMk id="20" creationId="{3618561B-597E-5FBC-E137-A61B3BE5AEB6}"/>
          </ac:cxnSpMkLst>
        </pc:cxnChg>
        <pc:cxnChg chg="add del mod">
          <ac:chgData name="Clark, Connie" userId="73351e60-ad32-4085-a232-1d9f9b189479" providerId="ADAL" clId="{5F87A5E2-C2A2-4F23-BC8C-28F7F5EA6CA7}" dt="2024-03-25T02:22:56.551" v="2552"/>
          <ac:cxnSpMkLst>
            <pc:docMk/>
            <pc:sldMk cId="1305518491" sldId="2147376782"/>
            <ac:cxnSpMk id="31" creationId="{A6E1627C-C4F7-70DC-0997-27E05925634B}"/>
          </ac:cxnSpMkLst>
        </pc:cxnChg>
        <pc:cxnChg chg="add del mod">
          <ac:chgData name="Clark, Connie" userId="73351e60-ad32-4085-a232-1d9f9b189479" providerId="ADAL" clId="{5F87A5E2-C2A2-4F23-BC8C-28F7F5EA6CA7}" dt="2024-03-25T02:22:56.551" v="2552"/>
          <ac:cxnSpMkLst>
            <pc:docMk/>
            <pc:sldMk cId="1305518491" sldId="2147376782"/>
            <ac:cxnSpMk id="32" creationId="{7267F147-8D89-5CDE-403F-067281E7B233}"/>
          </ac:cxnSpMkLst>
        </pc:cxnChg>
        <pc:cxnChg chg="add del mod">
          <ac:chgData name="Clark, Connie" userId="73351e60-ad32-4085-a232-1d9f9b189479" providerId="ADAL" clId="{5F87A5E2-C2A2-4F23-BC8C-28F7F5EA6CA7}" dt="2024-03-25T02:22:56.551" v="2552"/>
          <ac:cxnSpMkLst>
            <pc:docMk/>
            <pc:sldMk cId="1305518491" sldId="2147376782"/>
            <ac:cxnSpMk id="33" creationId="{CB200FE2-5C49-5A16-5547-BCFA322CF52F}"/>
          </ac:cxnSpMkLst>
        </pc:cxnChg>
        <pc:cxnChg chg="add del mod">
          <ac:chgData name="Clark, Connie" userId="73351e60-ad32-4085-a232-1d9f9b189479" providerId="ADAL" clId="{5F87A5E2-C2A2-4F23-BC8C-28F7F5EA6CA7}" dt="2024-03-25T02:22:56.551" v="2552"/>
          <ac:cxnSpMkLst>
            <pc:docMk/>
            <pc:sldMk cId="1305518491" sldId="2147376782"/>
            <ac:cxnSpMk id="34" creationId="{B727E9E9-4C15-A9D0-8EE4-E5900D7AD4A7}"/>
          </ac:cxnSpMkLst>
        </pc:cxnChg>
        <pc:cxnChg chg="add del mod">
          <ac:chgData name="Clark, Connie" userId="73351e60-ad32-4085-a232-1d9f9b189479" providerId="ADAL" clId="{5F87A5E2-C2A2-4F23-BC8C-28F7F5EA6CA7}" dt="2024-03-25T02:22:56.551" v="2552"/>
          <ac:cxnSpMkLst>
            <pc:docMk/>
            <pc:sldMk cId="1305518491" sldId="2147376782"/>
            <ac:cxnSpMk id="38" creationId="{379FD8D2-2F7A-2498-7BCC-B7216D60565A}"/>
          </ac:cxnSpMkLst>
        </pc:cxnChg>
        <pc:cxnChg chg="add del mod">
          <ac:chgData name="Clark, Connie" userId="73351e60-ad32-4085-a232-1d9f9b189479" providerId="ADAL" clId="{5F87A5E2-C2A2-4F23-BC8C-28F7F5EA6CA7}" dt="2024-03-25T02:22:56.551" v="2552"/>
          <ac:cxnSpMkLst>
            <pc:docMk/>
            <pc:sldMk cId="1305518491" sldId="2147376782"/>
            <ac:cxnSpMk id="40" creationId="{0C7FA6D7-54BE-538E-DA2B-4F3CD087E226}"/>
          </ac:cxnSpMkLst>
        </pc:cxnChg>
        <pc:cxnChg chg="add del mod">
          <ac:chgData name="Clark, Connie" userId="73351e60-ad32-4085-a232-1d9f9b189479" providerId="ADAL" clId="{5F87A5E2-C2A2-4F23-BC8C-28F7F5EA6CA7}" dt="2024-03-25T02:22:56.551" v="2552"/>
          <ac:cxnSpMkLst>
            <pc:docMk/>
            <pc:sldMk cId="1305518491" sldId="2147376782"/>
            <ac:cxnSpMk id="41" creationId="{EC16E1C9-09EF-C4E8-F398-46CA27D2ED0A}"/>
          </ac:cxnSpMkLst>
        </pc:cxnChg>
        <pc:cxnChg chg="add del mod">
          <ac:chgData name="Clark, Connie" userId="73351e60-ad32-4085-a232-1d9f9b189479" providerId="ADAL" clId="{5F87A5E2-C2A2-4F23-BC8C-28F7F5EA6CA7}" dt="2024-03-25T02:22:56.551" v="2552"/>
          <ac:cxnSpMkLst>
            <pc:docMk/>
            <pc:sldMk cId="1305518491" sldId="2147376782"/>
            <ac:cxnSpMk id="42" creationId="{48363C51-6549-6A20-DB48-14F4F9690CF9}"/>
          </ac:cxnSpMkLst>
        </pc:cxnChg>
        <pc:cxnChg chg="add del mod">
          <ac:chgData name="Clark, Connie" userId="73351e60-ad32-4085-a232-1d9f9b189479" providerId="ADAL" clId="{5F87A5E2-C2A2-4F23-BC8C-28F7F5EA6CA7}" dt="2024-03-25T02:22:56.551" v="2552"/>
          <ac:cxnSpMkLst>
            <pc:docMk/>
            <pc:sldMk cId="1305518491" sldId="2147376782"/>
            <ac:cxnSpMk id="43" creationId="{A84C1D62-56C4-53A0-B257-1AFA82D7B49F}"/>
          </ac:cxnSpMkLst>
        </pc:cxnChg>
        <pc:cxnChg chg="add del mod">
          <ac:chgData name="Clark, Connie" userId="73351e60-ad32-4085-a232-1d9f9b189479" providerId="ADAL" clId="{5F87A5E2-C2A2-4F23-BC8C-28F7F5EA6CA7}" dt="2024-03-25T02:22:56.551" v="2552"/>
          <ac:cxnSpMkLst>
            <pc:docMk/>
            <pc:sldMk cId="1305518491" sldId="2147376782"/>
            <ac:cxnSpMk id="44" creationId="{B841FD1A-7E1A-67A2-A54D-BD8AEC917BDB}"/>
          </ac:cxnSpMkLst>
        </pc:cxnChg>
        <pc:cxnChg chg="add del mod">
          <ac:chgData name="Clark, Connie" userId="73351e60-ad32-4085-a232-1d9f9b189479" providerId="ADAL" clId="{5F87A5E2-C2A2-4F23-BC8C-28F7F5EA6CA7}" dt="2024-03-25T02:22:56.551" v="2552"/>
          <ac:cxnSpMkLst>
            <pc:docMk/>
            <pc:sldMk cId="1305518491" sldId="2147376782"/>
            <ac:cxnSpMk id="63" creationId="{2F70D9ED-0D8F-0DF4-B5C3-9B8E80C28871}"/>
          </ac:cxnSpMkLst>
        </pc:cxnChg>
        <pc:cxnChg chg="add del mod">
          <ac:chgData name="Clark, Connie" userId="73351e60-ad32-4085-a232-1d9f9b189479" providerId="ADAL" clId="{5F87A5E2-C2A2-4F23-BC8C-28F7F5EA6CA7}" dt="2024-03-25T02:22:56.551" v="2552"/>
          <ac:cxnSpMkLst>
            <pc:docMk/>
            <pc:sldMk cId="1305518491" sldId="2147376782"/>
            <ac:cxnSpMk id="66" creationId="{3A7D3FBF-A020-C532-3A7D-FE56F87BA8C0}"/>
          </ac:cxnSpMkLst>
        </pc:cxnChg>
        <pc:cxnChg chg="add del mod">
          <ac:chgData name="Clark, Connie" userId="73351e60-ad32-4085-a232-1d9f9b189479" providerId="ADAL" clId="{5F87A5E2-C2A2-4F23-BC8C-28F7F5EA6CA7}" dt="2024-03-25T02:22:56.551" v="2552"/>
          <ac:cxnSpMkLst>
            <pc:docMk/>
            <pc:sldMk cId="1305518491" sldId="2147376782"/>
            <ac:cxnSpMk id="67" creationId="{EBEF8D80-029D-8E17-D213-25C71923086C}"/>
          </ac:cxnSpMkLst>
        </pc:cxnChg>
        <pc:cxnChg chg="add del mod">
          <ac:chgData name="Clark, Connie" userId="73351e60-ad32-4085-a232-1d9f9b189479" providerId="ADAL" clId="{5F87A5E2-C2A2-4F23-BC8C-28F7F5EA6CA7}" dt="2024-03-25T02:22:56.551" v="2552"/>
          <ac:cxnSpMkLst>
            <pc:docMk/>
            <pc:sldMk cId="1305518491" sldId="2147376782"/>
            <ac:cxnSpMk id="68" creationId="{BA48BCE4-9259-69E0-AC42-F2EBBEE26026}"/>
          </ac:cxnSpMkLst>
        </pc:cxnChg>
        <pc:cxnChg chg="add del mod">
          <ac:chgData name="Clark, Connie" userId="73351e60-ad32-4085-a232-1d9f9b189479" providerId="ADAL" clId="{5F87A5E2-C2A2-4F23-BC8C-28F7F5EA6CA7}" dt="2024-03-25T02:22:56.551" v="2552"/>
          <ac:cxnSpMkLst>
            <pc:docMk/>
            <pc:sldMk cId="1305518491" sldId="2147376782"/>
            <ac:cxnSpMk id="71" creationId="{1C0BDA89-04B5-604D-9E0D-E23D039284A4}"/>
          </ac:cxnSpMkLst>
        </pc:cxnChg>
        <pc:cxnChg chg="add del mod">
          <ac:chgData name="Clark, Connie" userId="73351e60-ad32-4085-a232-1d9f9b189479" providerId="ADAL" clId="{5F87A5E2-C2A2-4F23-BC8C-28F7F5EA6CA7}" dt="2024-03-25T02:22:56.551" v="2552"/>
          <ac:cxnSpMkLst>
            <pc:docMk/>
            <pc:sldMk cId="1305518491" sldId="2147376782"/>
            <ac:cxnSpMk id="73" creationId="{D6ACF37A-27A3-4067-874D-3BEC8589B5BF}"/>
          </ac:cxnSpMkLst>
        </pc:cxnChg>
        <pc:cxnChg chg="add del mod">
          <ac:chgData name="Clark, Connie" userId="73351e60-ad32-4085-a232-1d9f9b189479" providerId="ADAL" clId="{5F87A5E2-C2A2-4F23-BC8C-28F7F5EA6CA7}" dt="2024-03-25T02:22:56.551" v="2552"/>
          <ac:cxnSpMkLst>
            <pc:docMk/>
            <pc:sldMk cId="1305518491" sldId="2147376782"/>
            <ac:cxnSpMk id="74" creationId="{8180E7CE-9BC4-0A9B-7B53-5BF08ED311F8}"/>
          </ac:cxnSpMkLst>
        </pc:cxnChg>
        <pc:cxnChg chg="add del mod">
          <ac:chgData name="Clark, Connie" userId="73351e60-ad32-4085-a232-1d9f9b189479" providerId="ADAL" clId="{5F87A5E2-C2A2-4F23-BC8C-28F7F5EA6CA7}" dt="2024-03-25T02:22:56.551" v="2552"/>
          <ac:cxnSpMkLst>
            <pc:docMk/>
            <pc:sldMk cId="1305518491" sldId="2147376782"/>
            <ac:cxnSpMk id="76" creationId="{0E1E4E92-816C-250C-065A-D9F8EE1DCB44}"/>
          </ac:cxnSpMkLst>
        </pc:cxnChg>
        <pc:cxnChg chg="add del mod">
          <ac:chgData name="Clark, Connie" userId="73351e60-ad32-4085-a232-1d9f9b189479" providerId="ADAL" clId="{5F87A5E2-C2A2-4F23-BC8C-28F7F5EA6CA7}" dt="2024-03-25T02:22:56.551" v="2552"/>
          <ac:cxnSpMkLst>
            <pc:docMk/>
            <pc:sldMk cId="1305518491" sldId="2147376782"/>
            <ac:cxnSpMk id="78" creationId="{3A5B3EB0-9451-1847-8504-ECFAEFDAD957}"/>
          </ac:cxnSpMkLst>
        </pc:cxnChg>
        <pc:cxnChg chg="add del mod">
          <ac:chgData name="Clark, Connie" userId="73351e60-ad32-4085-a232-1d9f9b189479" providerId="ADAL" clId="{5F87A5E2-C2A2-4F23-BC8C-28F7F5EA6CA7}" dt="2024-03-25T02:22:56.551" v="2552"/>
          <ac:cxnSpMkLst>
            <pc:docMk/>
            <pc:sldMk cId="1305518491" sldId="2147376782"/>
            <ac:cxnSpMk id="80" creationId="{F0761BD0-FA1B-1A46-2AAE-028B4EB023B5}"/>
          </ac:cxnSpMkLst>
        </pc:cxnChg>
        <pc:cxnChg chg="add del mod">
          <ac:chgData name="Clark, Connie" userId="73351e60-ad32-4085-a232-1d9f9b189479" providerId="ADAL" clId="{5F87A5E2-C2A2-4F23-BC8C-28F7F5EA6CA7}" dt="2024-03-25T02:22:56.551" v="2552"/>
          <ac:cxnSpMkLst>
            <pc:docMk/>
            <pc:sldMk cId="1305518491" sldId="2147376782"/>
            <ac:cxnSpMk id="83" creationId="{D57FDC8E-F767-A6B3-21C4-4995D7BBB56D}"/>
          </ac:cxnSpMkLst>
        </pc:cxnChg>
        <pc:cxnChg chg="add mod">
          <ac:chgData name="Clark, Connie" userId="73351e60-ad32-4085-a232-1d9f9b189479" providerId="ADAL" clId="{5F87A5E2-C2A2-4F23-BC8C-28F7F5EA6CA7}" dt="2024-03-25T04:26:20.063" v="4227" actId="1076"/>
          <ac:cxnSpMkLst>
            <pc:docMk/>
            <pc:sldMk cId="1305518491" sldId="2147376782"/>
            <ac:cxnSpMk id="92" creationId="{1534CF68-17D8-A7AC-9ECE-794BA285A628}"/>
          </ac:cxnSpMkLst>
        </pc:cxnChg>
        <pc:cxnChg chg="add mod">
          <ac:chgData name="Clark, Connie" userId="73351e60-ad32-4085-a232-1d9f9b189479" providerId="ADAL" clId="{5F87A5E2-C2A2-4F23-BC8C-28F7F5EA6CA7}" dt="2024-03-25T04:26:20.063" v="4227" actId="1076"/>
          <ac:cxnSpMkLst>
            <pc:docMk/>
            <pc:sldMk cId="1305518491" sldId="2147376782"/>
            <ac:cxnSpMk id="94" creationId="{172AB6B9-18F9-A1BC-0FCC-CC99C8AB4734}"/>
          </ac:cxnSpMkLst>
        </pc:cxnChg>
        <pc:cxnChg chg="add mod">
          <ac:chgData name="Clark, Connie" userId="73351e60-ad32-4085-a232-1d9f9b189479" providerId="ADAL" clId="{5F87A5E2-C2A2-4F23-BC8C-28F7F5EA6CA7}" dt="2024-03-25T04:26:20.063" v="4227" actId="1076"/>
          <ac:cxnSpMkLst>
            <pc:docMk/>
            <pc:sldMk cId="1305518491" sldId="2147376782"/>
            <ac:cxnSpMk id="95" creationId="{DE7C84B0-E007-3C4C-DFEA-4CE6CD0BAB83}"/>
          </ac:cxnSpMkLst>
        </pc:cxnChg>
        <pc:cxnChg chg="add mod">
          <ac:chgData name="Clark, Connie" userId="73351e60-ad32-4085-a232-1d9f9b189479" providerId="ADAL" clId="{5F87A5E2-C2A2-4F23-BC8C-28F7F5EA6CA7}" dt="2024-03-25T04:26:20.063" v="4227" actId="1076"/>
          <ac:cxnSpMkLst>
            <pc:docMk/>
            <pc:sldMk cId="1305518491" sldId="2147376782"/>
            <ac:cxnSpMk id="96" creationId="{62C2AEAB-139D-8A69-D63D-01A1D8493D27}"/>
          </ac:cxnSpMkLst>
        </pc:cxnChg>
        <pc:cxnChg chg="add mod">
          <ac:chgData name="Clark, Connie" userId="73351e60-ad32-4085-a232-1d9f9b189479" providerId="ADAL" clId="{5F87A5E2-C2A2-4F23-BC8C-28F7F5EA6CA7}" dt="2024-03-25T04:26:20.063" v="4227" actId="1076"/>
          <ac:cxnSpMkLst>
            <pc:docMk/>
            <pc:sldMk cId="1305518491" sldId="2147376782"/>
            <ac:cxnSpMk id="97" creationId="{C20D3E7B-588E-3255-CE90-A8FBCA0D6801}"/>
          </ac:cxnSpMkLst>
        </pc:cxnChg>
        <pc:cxnChg chg="add mod">
          <ac:chgData name="Clark, Connie" userId="73351e60-ad32-4085-a232-1d9f9b189479" providerId="ADAL" clId="{5F87A5E2-C2A2-4F23-BC8C-28F7F5EA6CA7}" dt="2024-03-25T04:26:20.063" v="4227" actId="1076"/>
          <ac:cxnSpMkLst>
            <pc:docMk/>
            <pc:sldMk cId="1305518491" sldId="2147376782"/>
            <ac:cxnSpMk id="98" creationId="{5A00527B-9172-FC96-B44E-B2498D905DBA}"/>
          </ac:cxnSpMkLst>
        </pc:cxnChg>
        <pc:cxnChg chg="add mod">
          <ac:chgData name="Clark, Connie" userId="73351e60-ad32-4085-a232-1d9f9b189479" providerId="ADAL" clId="{5F87A5E2-C2A2-4F23-BC8C-28F7F5EA6CA7}" dt="2024-03-25T04:26:20.063" v="4227" actId="1076"/>
          <ac:cxnSpMkLst>
            <pc:docMk/>
            <pc:sldMk cId="1305518491" sldId="2147376782"/>
            <ac:cxnSpMk id="109" creationId="{BA7D6F86-EB8D-EC5D-4294-3E1AFF6C2C68}"/>
          </ac:cxnSpMkLst>
        </pc:cxnChg>
        <pc:cxnChg chg="add mod">
          <ac:chgData name="Clark, Connie" userId="73351e60-ad32-4085-a232-1d9f9b189479" providerId="ADAL" clId="{5F87A5E2-C2A2-4F23-BC8C-28F7F5EA6CA7}" dt="2024-03-25T04:26:20.063" v="4227" actId="1076"/>
          <ac:cxnSpMkLst>
            <pc:docMk/>
            <pc:sldMk cId="1305518491" sldId="2147376782"/>
            <ac:cxnSpMk id="110" creationId="{5182C397-7145-FDA7-F9A4-DBE3E21F1422}"/>
          </ac:cxnSpMkLst>
        </pc:cxnChg>
        <pc:cxnChg chg="add mod">
          <ac:chgData name="Clark, Connie" userId="73351e60-ad32-4085-a232-1d9f9b189479" providerId="ADAL" clId="{5F87A5E2-C2A2-4F23-BC8C-28F7F5EA6CA7}" dt="2024-03-25T04:26:20.063" v="4227" actId="1076"/>
          <ac:cxnSpMkLst>
            <pc:docMk/>
            <pc:sldMk cId="1305518491" sldId="2147376782"/>
            <ac:cxnSpMk id="111" creationId="{7E2BA00F-17A1-A023-0448-A0F961FE8FE1}"/>
          </ac:cxnSpMkLst>
        </pc:cxnChg>
        <pc:cxnChg chg="add mod">
          <ac:chgData name="Clark, Connie" userId="73351e60-ad32-4085-a232-1d9f9b189479" providerId="ADAL" clId="{5F87A5E2-C2A2-4F23-BC8C-28F7F5EA6CA7}" dt="2024-03-25T04:26:20.063" v="4227" actId="1076"/>
          <ac:cxnSpMkLst>
            <pc:docMk/>
            <pc:sldMk cId="1305518491" sldId="2147376782"/>
            <ac:cxnSpMk id="112" creationId="{6EB0733D-63E9-6375-885C-AEE8A852569B}"/>
          </ac:cxnSpMkLst>
        </pc:cxnChg>
        <pc:cxnChg chg="add del mod">
          <ac:chgData name="Clark, Connie" userId="73351e60-ad32-4085-a232-1d9f9b189479" providerId="ADAL" clId="{5F87A5E2-C2A2-4F23-BC8C-28F7F5EA6CA7}" dt="2024-03-25T02:55:15.471" v="3372" actId="478"/>
          <ac:cxnSpMkLst>
            <pc:docMk/>
            <pc:sldMk cId="1305518491" sldId="2147376782"/>
            <ac:cxnSpMk id="116" creationId="{C3815DDE-7B99-725C-C6EA-AD22102C86E8}"/>
          </ac:cxnSpMkLst>
        </pc:cxnChg>
        <pc:cxnChg chg="add mod">
          <ac:chgData name="Clark, Connie" userId="73351e60-ad32-4085-a232-1d9f9b189479" providerId="ADAL" clId="{5F87A5E2-C2A2-4F23-BC8C-28F7F5EA6CA7}" dt="2024-03-25T04:26:20.063" v="4227" actId="1076"/>
          <ac:cxnSpMkLst>
            <pc:docMk/>
            <pc:sldMk cId="1305518491" sldId="2147376782"/>
            <ac:cxnSpMk id="118" creationId="{2E955162-9E74-1B13-5B44-5E145C90AC23}"/>
          </ac:cxnSpMkLst>
        </pc:cxnChg>
        <pc:cxnChg chg="add mod">
          <ac:chgData name="Clark, Connie" userId="73351e60-ad32-4085-a232-1d9f9b189479" providerId="ADAL" clId="{5F87A5E2-C2A2-4F23-BC8C-28F7F5EA6CA7}" dt="2024-03-25T04:26:20.063" v="4227" actId="1076"/>
          <ac:cxnSpMkLst>
            <pc:docMk/>
            <pc:sldMk cId="1305518491" sldId="2147376782"/>
            <ac:cxnSpMk id="119" creationId="{BFF16F85-8E58-34CC-CF9B-AFFC2618CAE3}"/>
          </ac:cxnSpMkLst>
        </pc:cxnChg>
        <pc:cxnChg chg="add mod">
          <ac:chgData name="Clark, Connie" userId="73351e60-ad32-4085-a232-1d9f9b189479" providerId="ADAL" clId="{5F87A5E2-C2A2-4F23-BC8C-28F7F5EA6CA7}" dt="2024-03-25T04:26:20.063" v="4227" actId="1076"/>
          <ac:cxnSpMkLst>
            <pc:docMk/>
            <pc:sldMk cId="1305518491" sldId="2147376782"/>
            <ac:cxnSpMk id="120" creationId="{ABACD6F2-AB16-EBA3-E8EF-48154F302AFF}"/>
          </ac:cxnSpMkLst>
        </pc:cxnChg>
        <pc:cxnChg chg="add mod">
          <ac:chgData name="Clark, Connie" userId="73351e60-ad32-4085-a232-1d9f9b189479" providerId="ADAL" clId="{5F87A5E2-C2A2-4F23-BC8C-28F7F5EA6CA7}" dt="2024-03-25T04:26:20.063" v="4227" actId="1076"/>
          <ac:cxnSpMkLst>
            <pc:docMk/>
            <pc:sldMk cId="1305518491" sldId="2147376782"/>
            <ac:cxnSpMk id="121" creationId="{0F67CDD3-44EB-2AC0-027A-80E40C16A039}"/>
          </ac:cxnSpMkLst>
        </pc:cxnChg>
        <pc:cxnChg chg="add mod">
          <ac:chgData name="Clark, Connie" userId="73351e60-ad32-4085-a232-1d9f9b189479" providerId="ADAL" clId="{5F87A5E2-C2A2-4F23-BC8C-28F7F5EA6CA7}" dt="2024-03-25T04:26:20.063" v="4227" actId="1076"/>
          <ac:cxnSpMkLst>
            <pc:docMk/>
            <pc:sldMk cId="1305518491" sldId="2147376782"/>
            <ac:cxnSpMk id="122" creationId="{762C38A8-3CAF-899C-D7D6-6AA0EF73469E}"/>
          </ac:cxnSpMkLst>
        </pc:cxnChg>
        <pc:cxnChg chg="add mod">
          <ac:chgData name="Clark, Connie" userId="73351e60-ad32-4085-a232-1d9f9b189479" providerId="ADAL" clId="{5F87A5E2-C2A2-4F23-BC8C-28F7F5EA6CA7}" dt="2024-03-25T04:26:20.063" v="4227" actId="1076"/>
          <ac:cxnSpMkLst>
            <pc:docMk/>
            <pc:sldMk cId="1305518491" sldId="2147376782"/>
            <ac:cxnSpMk id="141" creationId="{2ED6E18F-4594-8FA7-B97E-19A3B868E224}"/>
          </ac:cxnSpMkLst>
        </pc:cxnChg>
        <pc:cxnChg chg="add mod">
          <ac:chgData name="Clark, Connie" userId="73351e60-ad32-4085-a232-1d9f9b189479" providerId="ADAL" clId="{5F87A5E2-C2A2-4F23-BC8C-28F7F5EA6CA7}" dt="2024-03-25T04:26:20.063" v="4227" actId="1076"/>
          <ac:cxnSpMkLst>
            <pc:docMk/>
            <pc:sldMk cId="1305518491" sldId="2147376782"/>
            <ac:cxnSpMk id="144" creationId="{184F79ED-426D-16A0-FB67-29D6FF6C8DEB}"/>
          </ac:cxnSpMkLst>
        </pc:cxnChg>
        <pc:cxnChg chg="add mod">
          <ac:chgData name="Clark, Connie" userId="73351e60-ad32-4085-a232-1d9f9b189479" providerId="ADAL" clId="{5F87A5E2-C2A2-4F23-BC8C-28F7F5EA6CA7}" dt="2024-03-25T04:26:20.063" v="4227" actId="1076"/>
          <ac:cxnSpMkLst>
            <pc:docMk/>
            <pc:sldMk cId="1305518491" sldId="2147376782"/>
            <ac:cxnSpMk id="145" creationId="{1EC0A532-01D6-D1B7-F5F6-428F107E79B0}"/>
          </ac:cxnSpMkLst>
        </pc:cxnChg>
        <pc:cxnChg chg="add mod">
          <ac:chgData name="Clark, Connie" userId="73351e60-ad32-4085-a232-1d9f9b189479" providerId="ADAL" clId="{5F87A5E2-C2A2-4F23-BC8C-28F7F5EA6CA7}" dt="2024-03-25T04:26:20.063" v="4227" actId="1076"/>
          <ac:cxnSpMkLst>
            <pc:docMk/>
            <pc:sldMk cId="1305518491" sldId="2147376782"/>
            <ac:cxnSpMk id="146" creationId="{6B47A4FC-7D9A-8943-CAB6-61D6DAA34FDB}"/>
          </ac:cxnSpMkLst>
        </pc:cxnChg>
        <pc:cxnChg chg="add mod">
          <ac:chgData name="Clark, Connie" userId="73351e60-ad32-4085-a232-1d9f9b189479" providerId="ADAL" clId="{5F87A5E2-C2A2-4F23-BC8C-28F7F5EA6CA7}" dt="2024-03-25T04:26:20.063" v="4227" actId="1076"/>
          <ac:cxnSpMkLst>
            <pc:docMk/>
            <pc:sldMk cId="1305518491" sldId="2147376782"/>
            <ac:cxnSpMk id="149" creationId="{82E29DA6-BCF1-80D6-8FD0-D078F758DADC}"/>
          </ac:cxnSpMkLst>
        </pc:cxnChg>
        <pc:cxnChg chg="add mod">
          <ac:chgData name="Clark, Connie" userId="73351e60-ad32-4085-a232-1d9f9b189479" providerId="ADAL" clId="{5F87A5E2-C2A2-4F23-BC8C-28F7F5EA6CA7}" dt="2024-03-25T04:26:20.063" v="4227" actId="1076"/>
          <ac:cxnSpMkLst>
            <pc:docMk/>
            <pc:sldMk cId="1305518491" sldId="2147376782"/>
            <ac:cxnSpMk id="151" creationId="{9C078A26-B394-88EF-EC2B-64348971AB1F}"/>
          </ac:cxnSpMkLst>
        </pc:cxnChg>
        <pc:cxnChg chg="add mod">
          <ac:chgData name="Clark, Connie" userId="73351e60-ad32-4085-a232-1d9f9b189479" providerId="ADAL" clId="{5F87A5E2-C2A2-4F23-BC8C-28F7F5EA6CA7}" dt="2024-03-25T04:26:20.063" v="4227" actId="1076"/>
          <ac:cxnSpMkLst>
            <pc:docMk/>
            <pc:sldMk cId="1305518491" sldId="2147376782"/>
            <ac:cxnSpMk id="152" creationId="{B688AD7E-3412-1D53-3C6A-E77BFAF92FFB}"/>
          </ac:cxnSpMkLst>
        </pc:cxnChg>
        <pc:cxnChg chg="add mod">
          <ac:chgData name="Clark, Connie" userId="73351e60-ad32-4085-a232-1d9f9b189479" providerId="ADAL" clId="{5F87A5E2-C2A2-4F23-BC8C-28F7F5EA6CA7}" dt="2024-03-25T04:26:20.063" v="4227" actId="1076"/>
          <ac:cxnSpMkLst>
            <pc:docMk/>
            <pc:sldMk cId="1305518491" sldId="2147376782"/>
            <ac:cxnSpMk id="154" creationId="{7B604D61-4E63-7317-E9D7-C070742CD206}"/>
          </ac:cxnSpMkLst>
        </pc:cxnChg>
        <pc:cxnChg chg="add del mod">
          <ac:chgData name="Clark, Connie" userId="73351e60-ad32-4085-a232-1d9f9b189479" providerId="ADAL" clId="{5F87A5E2-C2A2-4F23-BC8C-28F7F5EA6CA7}" dt="2024-03-25T02:55:23.600" v="3376" actId="478"/>
          <ac:cxnSpMkLst>
            <pc:docMk/>
            <pc:sldMk cId="1305518491" sldId="2147376782"/>
            <ac:cxnSpMk id="156" creationId="{48C22966-8852-AF60-48AB-5A13B9ECBA8F}"/>
          </ac:cxnSpMkLst>
        </pc:cxnChg>
        <pc:cxnChg chg="add mod">
          <ac:chgData name="Clark, Connie" userId="73351e60-ad32-4085-a232-1d9f9b189479" providerId="ADAL" clId="{5F87A5E2-C2A2-4F23-BC8C-28F7F5EA6CA7}" dt="2024-03-25T04:26:20.063" v="4227" actId="1076"/>
          <ac:cxnSpMkLst>
            <pc:docMk/>
            <pc:sldMk cId="1305518491" sldId="2147376782"/>
            <ac:cxnSpMk id="158" creationId="{D15947B4-1722-4372-1790-5EA0330D785F}"/>
          </ac:cxnSpMkLst>
        </pc:cxnChg>
        <pc:cxnChg chg="add mod">
          <ac:chgData name="Clark, Connie" userId="73351e60-ad32-4085-a232-1d9f9b189479" providerId="ADAL" clId="{5F87A5E2-C2A2-4F23-BC8C-28F7F5EA6CA7}" dt="2024-03-25T04:26:20.063" v="4227" actId="1076"/>
          <ac:cxnSpMkLst>
            <pc:docMk/>
            <pc:sldMk cId="1305518491" sldId="2147376782"/>
            <ac:cxnSpMk id="161" creationId="{5162F612-AD4D-48ED-C277-5E99687B8C3E}"/>
          </ac:cxnSpMkLst>
        </pc:cxnChg>
      </pc:sldChg>
      <pc:sldChg chg="addSp modSp add del mod">
        <pc:chgData name="Clark, Connie" userId="73351e60-ad32-4085-a232-1d9f9b189479" providerId="ADAL" clId="{5F87A5E2-C2A2-4F23-BC8C-28F7F5EA6CA7}" dt="2024-03-25T03:23:10.148" v="3528" actId="47"/>
        <pc:sldMkLst>
          <pc:docMk/>
          <pc:sldMk cId="3809824" sldId="2147376783"/>
        </pc:sldMkLst>
        <pc:spChg chg="add mod">
          <ac:chgData name="Clark, Connie" userId="73351e60-ad32-4085-a232-1d9f9b189479" providerId="ADAL" clId="{5F87A5E2-C2A2-4F23-BC8C-28F7F5EA6CA7}" dt="2024-03-25T01:36:21.696" v="1438" actId="20577"/>
          <ac:spMkLst>
            <pc:docMk/>
            <pc:sldMk cId="3809824" sldId="2147376783"/>
            <ac:spMk id="4" creationId="{21262A8F-59F7-DFD0-7ADB-5BE2F2064B89}"/>
          </ac:spMkLst>
        </pc:spChg>
      </pc:sldChg>
      <pc:sldChg chg="addSp delSp modSp add del mod ord">
        <pc:chgData name="Clark, Connie" userId="73351e60-ad32-4085-a232-1d9f9b189479" providerId="ADAL" clId="{5F87A5E2-C2A2-4F23-BC8C-28F7F5EA6CA7}" dt="2024-05-24T00:09:13.161" v="31035" actId="2696"/>
        <pc:sldMkLst>
          <pc:docMk/>
          <pc:sldMk cId="1845155150" sldId="2147376784"/>
        </pc:sldMkLst>
        <pc:spChg chg="add mod">
          <ac:chgData name="Clark, Connie" userId="73351e60-ad32-4085-a232-1d9f9b189479" providerId="ADAL" clId="{5F87A5E2-C2A2-4F23-BC8C-28F7F5EA6CA7}" dt="2024-04-04T22:43:58.189" v="27724" actId="20577"/>
          <ac:spMkLst>
            <pc:docMk/>
            <pc:sldMk cId="1845155150" sldId="2147376784"/>
            <ac:spMk id="2" creationId="{1551288E-4827-3FF2-C48D-00D2D1177FC3}"/>
          </ac:spMkLst>
        </pc:spChg>
        <pc:spChg chg="add del mod">
          <ac:chgData name="Clark, Connie" userId="73351e60-ad32-4085-a232-1d9f9b189479" providerId="ADAL" clId="{5F87A5E2-C2A2-4F23-BC8C-28F7F5EA6CA7}" dt="2024-03-25T00:48:30.360" v="173"/>
          <ac:spMkLst>
            <pc:docMk/>
            <pc:sldMk cId="1845155150" sldId="2147376784"/>
            <ac:spMk id="2" creationId="{BBA4F67A-C468-7496-9096-BE736892BBB8}"/>
          </ac:spMkLst>
        </pc:spChg>
        <pc:spChg chg="del mod">
          <ac:chgData name="Clark, Connie" userId="73351e60-ad32-4085-a232-1d9f9b189479" providerId="ADAL" clId="{5F87A5E2-C2A2-4F23-BC8C-28F7F5EA6CA7}" dt="2024-03-25T00:48:48.879" v="176" actId="478"/>
          <ac:spMkLst>
            <pc:docMk/>
            <pc:sldMk cId="1845155150" sldId="2147376784"/>
            <ac:spMk id="3" creationId="{9AFBF33D-ED8C-A6DE-E037-F533CE2052F2}"/>
          </ac:spMkLst>
        </pc:spChg>
        <pc:spChg chg="add del mod">
          <ac:chgData name="Clark, Connie" userId="73351e60-ad32-4085-a232-1d9f9b189479" providerId="ADAL" clId="{5F87A5E2-C2A2-4F23-BC8C-28F7F5EA6CA7}" dt="2024-03-25T00:48:30.360" v="173"/>
          <ac:spMkLst>
            <pc:docMk/>
            <pc:sldMk cId="1845155150" sldId="2147376784"/>
            <ac:spMk id="5" creationId="{26414342-80D3-CE9F-43B1-9604354FE31D}"/>
          </ac:spMkLst>
        </pc:spChg>
        <pc:spChg chg="add del mod">
          <ac:chgData name="Clark, Connie" userId="73351e60-ad32-4085-a232-1d9f9b189479" providerId="ADAL" clId="{5F87A5E2-C2A2-4F23-BC8C-28F7F5EA6CA7}" dt="2024-03-25T00:48:30.360" v="173"/>
          <ac:spMkLst>
            <pc:docMk/>
            <pc:sldMk cId="1845155150" sldId="2147376784"/>
            <ac:spMk id="6" creationId="{B14EEFAB-656F-D9D2-6423-D8860EB4800D}"/>
          </ac:spMkLst>
        </pc:spChg>
        <pc:spChg chg="add del mod">
          <ac:chgData name="Clark, Connie" userId="73351e60-ad32-4085-a232-1d9f9b189479" providerId="ADAL" clId="{5F87A5E2-C2A2-4F23-BC8C-28F7F5EA6CA7}" dt="2024-03-25T00:48:30.360" v="173"/>
          <ac:spMkLst>
            <pc:docMk/>
            <pc:sldMk cId="1845155150" sldId="2147376784"/>
            <ac:spMk id="7" creationId="{16B06917-3365-BE96-FBF3-BEFAD712CDDF}"/>
          </ac:spMkLst>
        </pc:spChg>
        <pc:spChg chg="add del mod">
          <ac:chgData name="Clark, Connie" userId="73351e60-ad32-4085-a232-1d9f9b189479" providerId="ADAL" clId="{5F87A5E2-C2A2-4F23-BC8C-28F7F5EA6CA7}" dt="2024-03-25T00:51:59.382" v="187" actId="478"/>
          <ac:spMkLst>
            <pc:docMk/>
            <pc:sldMk cId="1845155150" sldId="2147376784"/>
            <ac:spMk id="8" creationId="{53FCEB83-B957-A4DC-0434-8B99A11BA4FD}"/>
          </ac:spMkLst>
        </pc:spChg>
        <pc:spChg chg="del">
          <ac:chgData name="Clark, Connie" userId="73351e60-ad32-4085-a232-1d9f9b189479" providerId="ADAL" clId="{5F87A5E2-C2A2-4F23-BC8C-28F7F5EA6CA7}" dt="2024-03-25T00:47:53.191" v="169" actId="478"/>
          <ac:spMkLst>
            <pc:docMk/>
            <pc:sldMk cId="1845155150" sldId="2147376784"/>
            <ac:spMk id="9" creationId="{9471083A-98D2-8F37-7493-9C680DF70067}"/>
          </ac:spMkLst>
        </pc:spChg>
        <pc:spChg chg="del">
          <ac:chgData name="Clark, Connie" userId="73351e60-ad32-4085-a232-1d9f9b189479" providerId="ADAL" clId="{5F87A5E2-C2A2-4F23-BC8C-28F7F5EA6CA7}" dt="2024-03-25T00:47:50.487" v="168" actId="478"/>
          <ac:spMkLst>
            <pc:docMk/>
            <pc:sldMk cId="1845155150" sldId="2147376784"/>
            <ac:spMk id="10" creationId="{12B1270C-F633-9796-D54A-4B18D5CA9451}"/>
          </ac:spMkLst>
        </pc:spChg>
        <pc:spChg chg="add mod">
          <ac:chgData name="Clark, Connie" userId="73351e60-ad32-4085-a232-1d9f9b189479" providerId="ADAL" clId="{5F87A5E2-C2A2-4F23-BC8C-28F7F5EA6CA7}" dt="2024-03-25T00:49:16.242" v="178" actId="1076"/>
          <ac:spMkLst>
            <pc:docMk/>
            <pc:sldMk cId="1845155150" sldId="2147376784"/>
            <ac:spMk id="12" creationId="{CDD6D4F2-1B60-134F-7CED-F8253C59D695}"/>
          </ac:spMkLst>
        </pc:spChg>
        <pc:spChg chg="add mod">
          <ac:chgData name="Clark, Connie" userId="73351e60-ad32-4085-a232-1d9f9b189479" providerId="ADAL" clId="{5F87A5E2-C2A2-4F23-BC8C-28F7F5EA6CA7}" dt="2024-03-25T00:52:16.137" v="188" actId="207"/>
          <ac:spMkLst>
            <pc:docMk/>
            <pc:sldMk cId="1845155150" sldId="2147376784"/>
            <ac:spMk id="13" creationId="{118F2745-C618-E868-67E6-39F4717389BF}"/>
          </ac:spMkLst>
        </pc:spChg>
        <pc:spChg chg="add mod">
          <ac:chgData name="Clark, Connie" userId="73351e60-ad32-4085-a232-1d9f9b189479" providerId="ADAL" clId="{5F87A5E2-C2A2-4F23-BC8C-28F7F5EA6CA7}" dt="2024-03-30T00:51:31.553" v="11133"/>
          <ac:spMkLst>
            <pc:docMk/>
            <pc:sldMk cId="1845155150" sldId="2147376784"/>
            <ac:spMk id="14" creationId="{11DA86C6-6F0A-256F-8809-37C7B14E60D7}"/>
          </ac:spMkLst>
        </pc:spChg>
        <pc:spChg chg="add del mod">
          <ac:chgData name="Clark, Connie" userId="73351e60-ad32-4085-a232-1d9f9b189479" providerId="ADAL" clId="{5F87A5E2-C2A2-4F23-BC8C-28F7F5EA6CA7}" dt="2024-03-25T00:51:54.861" v="184"/>
          <ac:spMkLst>
            <pc:docMk/>
            <pc:sldMk cId="1845155150" sldId="2147376784"/>
            <ac:spMk id="15" creationId="{167A4BFA-9B75-D215-1603-9FBB81F65A00}"/>
          </ac:spMkLst>
        </pc:spChg>
        <pc:spChg chg="add mod">
          <ac:chgData name="Clark, Connie" userId="73351e60-ad32-4085-a232-1d9f9b189479" providerId="ADAL" clId="{5F87A5E2-C2A2-4F23-BC8C-28F7F5EA6CA7}" dt="2024-05-22T01:47:12.901" v="27753" actId="20577"/>
          <ac:spMkLst>
            <pc:docMk/>
            <pc:sldMk cId="1845155150" sldId="2147376784"/>
            <ac:spMk id="16" creationId="{E2DE819F-8838-EE91-2689-38C630CDFEF8}"/>
          </ac:spMkLst>
        </pc:spChg>
        <pc:picChg chg="add del mod">
          <ac:chgData name="Clark, Connie" userId="73351e60-ad32-4085-a232-1d9f9b189479" providerId="ADAL" clId="{5F87A5E2-C2A2-4F23-BC8C-28F7F5EA6CA7}" dt="2024-03-25T00:48:30.360" v="173"/>
          <ac:picMkLst>
            <pc:docMk/>
            <pc:sldMk cId="1845155150" sldId="2147376784"/>
            <ac:picMk id="4" creationId="{19A68302-D538-3FDB-E16E-3942209B235C}"/>
          </ac:picMkLst>
        </pc:picChg>
        <pc:picChg chg="add mod">
          <ac:chgData name="Clark, Connie" userId="73351e60-ad32-4085-a232-1d9f9b189479" providerId="ADAL" clId="{5F87A5E2-C2A2-4F23-BC8C-28F7F5EA6CA7}" dt="2024-03-25T00:49:21.294" v="179" actId="1076"/>
          <ac:picMkLst>
            <pc:docMk/>
            <pc:sldMk cId="1845155150" sldId="2147376784"/>
            <ac:picMk id="11" creationId="{01E0E386-D980-CE8E-622E-771BDA49C86A}"/>
          </ac:picMkLst>
        </pc:picChg>
      </pc:sldChg>
      <pc:sldChg chg="addSp delSp modSp add del mod">
        <pc:chgData name="Clark, Connie" userId="73351e60-ad32-4085-a232-1d9f9b189479" providerId="ADAL" clId="{5F87A5E2-C2A2-4F23-BC8C-28F7F5EA6CA7}" dt="2024-03-25T02:56:05.089" v="3379" actId="47"/>
        <pc:sldMkLst>
          <pc:docMk/>
          <pc:sldMk cId="1528975628" sldId="2147376785"/>
        </pc:sldMkLst>
        <pc:spChg chg="add mod">
          <ac:chgData name="Clark, Connie" userId="73351e60-ad32-4085-a232-1d9f9b189479" providerId="ADAL" clId="{5F87A5E2-C2A2-4F23-BC8C-28F7F5EA6CA7}" dt="2024-03-25T02:42:31.303" v="3289"/>
          <ac:spMkLst>
            <pc:docMk/>
            <pc:sldMk cId="1528975628" sldId="2147376785"/>
            <ac:spMk id="2" creationId="{83599916-EC5B-3624-32A1-2FCE019F5418}"/>
          </ac:spMkLst>
        </pc:spChg>
        <pc:spChg chg="add mod">
          <ac:chgData name="Clark, Connie" userId="73351e60-ad32-4085-a232-1d9f9b189479" providerId="ADAL" clId="{5F87A5E2-C2A2-4F23-BC8C-28F7F5EA6CA7}" dt="2024-03-25T01:21:44.164" v="1014" actId="20577"/>
          <ac:spMkLst>
            <pc:docMk/>
            <pc:sldMk cId="1528975628" sldId="2147376785"/>
            <ac:spMk id="4" creationId="{86B9362D-E089-95DB-B503-63FDB487D4CB}"/>
          </ac:spMkLst>
        </pc:spChg>
        <pc:spChg chg="add mod">
          <ac:chgData name="Clark, Connie" userId="73351e60-ad32-4085-a232-1d9f9b189479" providerId="ADAL" clId="{5F87A5E2-C2A2-4F23-BC8C-28F7F5EA6CA7}" dt="2024-03-25T01:13:21.243" v="683"/>
          <ac:spMkLst>
            <pc:docMk/>
            <pc:sldMk cId="1528975628" sldId="2147376785"/>
            <ac:spMk id="5" creationId="{D21F4427-86B7-E854-765E-3711E2CE70E7}"/>
          </ac:spMkLst>
        </pc:spChg>
        <pc:spChg chg="add mod">
          <ac:chgData name="Clark, Connie" userId="73351e60-ad32-4085-a232-1d9f9b189479" providerId="ADAL" clId="{5F87A5E2-C2A2-4F23-BC8C-28F7F5EA6CA7}" dt="2024-03-25T01:13:21.243" v="683"/>
          <ac:spMkLst>
            <pc:docMk/>
            <pc:sldMk cId="1528975628" sldId="2147376785"/>
            <ac:spMk id="6" creationId="{5AEF68B1-33EA-F546-CBA8-CB8CA9C99E19}"/>
          </ac:spMkLst>
        </pc:spChg>
        <pc:spChg chg="add del mod">
          <ac:chgData name="Clark, Connie" userId="73351e60-ad32-4085-a232-1d9f9b189479" providerId="ADAL" clId="{5F87A5E2-C2A2-4F23-BC8C-28F7F5EA6CA7}" dt="2024-03-25T01:13:47.348" v="696" actId="478"/>
          <ac:spMkLst>
            <pc:docMk/>
            <pc:sldMk cId="1528975628" sldId="2147376785"/>
            <ac:spMk id="7" creationId="{6DFF6B85-92E4-6D79-C46C-A7B6A993855E}"/>
          </ac:spMkLst>
        </pc:spChg>
        <pc:spChg chg="add del mod">
          <ac:chgData name="Clark, Connie" userId="73351e60-ad32-4085-a232-1d9f9b189479" providerId="ADAL" clId="{5F87A5E2-C2A2-4F23-BC8C-28F7F5EA6CA7}" dt="2024-03-25T01:13:47.348" v="696" actId="478"/>
          <ac:spMkLst>
            <pc:docMk/>
            <pc:sldMk cId="1528975628" sldId="2147376785"/>
            <ac:spMk id="8" creationId="{CA749A5A-54D0-2440-718E-0551595E6348}"/>
          </ac:spMkLst>
        </pc:spChg>
        <pc:spChg chg="add del mod">
          <ac:chgData name="Clark, Connie" userId="73351e60-ad32-4085-a232-1d9f9b189479" providerId="ADAL" clId="{5F87A5E2-C2A2-4F23-BC8C-28F7F5EA6CA7}" dt="2024-03-25T01:13:47.348" v="696" actId="478"/>
          <ac:spMkLst>
            <pc:docMk/>
            <pc:sldMk cId="1528975628" sldId="2147376785"/>
            <ac:spMk id="9" creationId="{7360E81A-1C82-A1D0-F34A-E0446E4491F2}"/>
          </ac:spMkLst>
        </pc:spChg>
        <pc:spChg chg="add mod">
          <ac:chgData name="Clark, Connie" userId="73351e60-ad32-4085-a232-1d9f9b189479" providerId="ADAL" clId="{5F87A5E2-C2A2-4F23-BC8C-28F7F5EA6CA7}" dt="2024-03-25T01:16:00.243" v="934" actId="1076"/>
          <ac:spMkLst>
            <pc:docMk/>
            <pc:sldMk cId="1528975628" sldId="2147376785"/>
            <ac:spMk id="10" creationId="{45BF0D58-7EF9-D66D-D19E-A3C2A57E37C8}"/>
          </ac:spMkLst>
        </pc:spChg>
        <pc:spChg chg="add del mod">
          <ac:chgData name="Clark, Connie" userId="73351e60-ad32-4085-a232-1d9f9b189479" providerId="ADAL" clId="{5F87A5E2-C2A2-4F23-BC8C-28F7F5EA6CA7}" dt="2024-03-25T01:19:17.825" v="994" actId="478"/>
          <ac:spMkLst>
            <pc:docMk/>
            <pc:sldMk cId="1528975628" sldId="2147376785"/>
            <ac:spMk id="11" creationId="{ED41AA55-5297-B948-C5C5-15B1E5C3547D}"/>
          </ac:spMkLst>
        </pc:spChg>
        <pc:spChg chg="add mod">
          <ac:chgData name="Clark, Connie" userId="73351e60-ad32-4085-a232-1d9f9b189479" providerId="ADAL" clId="{5F87A5E2-C2A2-4F23-BC8C-28F7F5EA6CA7}" dt="2024-03-25T02:42:57.888" v="3291" actId="1076"/>
          <ac:spMkLst>
            <pc:docMk/>
            <pc:sldMk cId="1528975628" sldId="2147376785"/>
            <ac:spMk id="12" creationId="{7D39EFB9-FAA5-2BB7-DC5E-A87B4D8AF08D}"/>
          </ac:spMkLst>
        </pc:spChg>
        <pc:spChg chg="add del mod">
          <ac:chgData name="Clark, Connie" userId="73351e60-ad32-4085-a232-1d9f9b189479" providerId="ADAL" clId="{5F87A5E2-C2A2-4F23-BC8C-28F7F5EA6CA7}" dt="2024-03-25T01:13:47.348" v="696" actId="478"/>
          <ac:spMkLst>
            <pc:docMk/>
            <pc:sldMk cId="1528975628" sldId="2147376785"/>
            <ac:spMk id="13" creationId="{5495805D-CFFE-6BDC-5ED9-985B8E9836AC}"/>
          </ac:spMkLst>
        </pc:spChg>
        <pc:spChg chg="add del mod">
          <ac:chgData name="Clark, Connie" userId="73351e60-ad32-4085-a232-1d9f9b189479" providerId="ADAL" clId="{5F87A5E2-C2A2-4F23-BC8C-28F7F5EA6CA7}" dt="2024-03-25T01:13:57.760" v="699" actId="478"/>
          <ac:spMkLst>
            <pc:docMk/>
            <pc:sldMk cId="1528975628" sldId="2147376785"/>
            <ac:spMk id="14" creationId="{A11CA15C-B24B-7310-3531-7F893B2F9F3F}"/>
          </ac:spMkLst>
        </pc:spChg>
        <pc:spChg chg="add mod">
          <ac:chgData name="Clark, Connie" userId="73351e60-ad32-4085-a232-1d9f9b189479" providerId="ADAL" clId="{5F87A5E2-C2A2-4F23-BC8C-28F7F5EA6CA7}" dt="2024-03-25T01:17:45.897" v="987" actId="1076"/>
          <ac:spMkLst>
            <pc:docMk/>
            <pc:sldMk cId="1528975628" sldId="2147376785"/>
            <ac:spMk id="16" creationId="{D443A33F-9934-8EE5-D5FB-A1447ECF2107}"/>
          </ac:spMkLst>
        </pc:spChg>
        <pc:spChg chg="add mod">
          <ac:chgData name="Clark, Connie" userId="73351e60-ad32-4085-a232-1d9f9b189479" providerId="ADAL" clId="{5F87A5E2-C2A2-4F23-BC8C-28F7F5EA6CA7}" dt="2024-03-25T01:19:13.506" v="993" actId="1076"/>
          <ac:spMkLst>
            <pc:docMk/>
            <pc:sldMk cId="1528975628" sldId="2147376785"/>
            <ac:spMk id="18" creationId="{8F8D35F7-645F-99A3-E858-E644BF15E709}"/>
          </ac:spMkLst>
        </pc:spChg>
        <pc:spChg chg="add del mod">
          <ac:chgData name="Clark, Connie" userId="73351e60-ad32-4085-a232-1d9f9b189479" providerId="ADAL" clId="{5F87A5E2-C2A2-4F23-BC8C-28F7F5EA6CA7}" dt="2024-03-25T01:24:06.078" v="1026"/>
          <ac:spMkLst>
            <pc:docMk/>
            <pc:sldMk cId="1528975628" sldId="2147376785"/>
            <ac:spMk id="19" creationId="{DCBDF311-CE02-E7AD-E55A-CC3E46872F72}"/>
          </ac:spMkLst>
        </pc:spChg>
        <pc:spChg chg="add mod">
          <ac:chgData name="Clark, Connie" userId="73351e60-ad32-4085-a232-1d9f9b189479" providerId="ADAL" clId="{5F87A5E2-C2A2-4F23-BC8C-28F7F5EA6CA7}" dt="2024-03-25T01:24:15.024" v="1029" actId="14100"/>
          <ac:spMkLst>
            <pc:docMk/>
            <pc:sldMk cId="1528975628" sldId="2147376785"/>
            <ac:spMk id="20" creationId="{FDC68BA1-1290-CBD6-3781-33734D22183D}"/>
          </ac:spMkLst>
        </pc:spChg>
        <pc:cxnChg chg="add del mod">
          <ac:chgData name="Clark, Connie" userId="73351e60-ad32-4085-a232-1d9f9b189479" providerId="ADAL" clId="{5F87A5E2-C2A2-4F23-BC8C-28F7F5EA6CA7}" dt="2024-03-25T01:13:47.348" v="696" actId="478"/>
          <ac:cxnSpMkLst>
            <pc:docMk/>
            <pc:sldMk cId="1528975628" sldId="2147376785"/>
            <ac:cxnSpMk id="15" creationId="{FFAEFC48-3085-4215-16FE-8C3663B6A036}"/>
          </ac:cxnSpMkLst>
        </pc:cxnChg>
      </pc:sldChg>
      <pc:sldChg chg="addSp delSp modSp add del mod ord">
        <pc:chgData name="Clark, Connie" userId="73351e60-ad32-4085-a232-1d9f9b189479" providerId="ADAL" clId="{5F87A5E2-C2A2-4F23-BC8C-28F7F5EA6CA7}" dt="2024-05-24T00:09:13.161" v="31035" actId="2696"/>
        <pc:sldMkLst>
          <pc:docMk/>
          <pc:sldMk cId="819612500" sldId="2147376786"/>
        </pc:sldMkLst>
        <pc:spChg chg="add mod">
          <ac:chgData name="Clark, Connie" userId="73351e60-ad32-4085-a232-1d9f9b189479" providerId="ADAL" clId="{5F87A5E2-C2A2-4F23-BC8C-28F7F5EA6CA7}" dt="2024-03-31T05:21:07.828" v="21487" actId="1076"/>
          <ac:spMkLst>
            <pc:docMk/>
            <pc:sldMk cId="819612500" sldId="2147376786"/>
            <ac:spMk id="2" creationId="{6DB00CFD-125E-4609-FBBD-40D5BEBC54D6}"/>
          </ac:spMkLst>
        </pc:spChg>
        <pc:spChg chg="add del mod">
          <ac:chgData name="Clark, Connie" userId="73351e60-ad32-4085-a232-1d9f9b189479" providerId="ADAL" clId="{5F87A5E2-C2A2-4F23-BC8C-28F7F5EA6CA7}" dt="2024-03-25T01:39:19.326" v="1439" actId="478"/>
          <ac:spMkLst>
            <pc:docMk/>
            <pc:sldMk cId="819612500" sldId="2147376786"/>
            <ac:spMk id="2" creationId="{829B9EC2-9AD6-E4CD-AB45-12E7577E3B0F}"/>
          </ac:spMkLst>
        </pc:spChg>
        <pc:spChg chg="del">
          <ac:chgData name="Clark, Connie" userId="73351e60-ad32-4085-a232-1d9f9b189479" providerId="ADAL" clId="{5F87A5E2-C2A2-4F23-BC8C-28F7F5EA6CA7}" dt="2024-03-25T01:39:25.649" v="1440" actId="478"/>
          <ac:spMkLst>
            <pc:docMk/>
            <pc:sldMk cId="819612500" sldId="2147376786"/>
            <ac:spMk id="3" creationId="{9AFBF33D-ED8C-A6DE-E037-F533CE2052F2}"/>
          </ac:spMkLst>
        </pc:spChg>
        <pc:spChg chg="add mod">
          <ac:chgData name="Clark, Connie" userId="73351e60-ad32-4085-a232-1d9f9b189479" providerId="ADAL" clId="{5F87A5E2-C2A2-4F23-BC8C-28F7F5EA6CA7}" dt="2024-03-31T05:22:33.951" v="21495" actId="207"/>
          <ac:spMkLst>
            <pc:docMk/>
            <pc:sldMk cId="819612500" sldId="2147376786"/>
            <ac:spMk id="4" creationId="{7E78FA78-ABD1-E962-7429-A8D1FDE37E9F}"/>
          </ac:spMkLst>
        </pc:spChg>
        <pc:spChg chg="add mod">
          <ac:chgData name="Clark, Connie" userId="73351e60-ad32-4085-a232-1d9f9b189479" providerId="ADAL" clId="{5F87A5E2-C2A2-4F23-BC8C-28F7F5EA6CA7}" dt="2024-03-30T01:24:12.742" v="11627" actId="20577"/>
          <ac:spMkLst>
            <pc:docMk/>
            <pc:sldMk cId="819612500" sldId="2147376786"/>
            <ac:spMk id="5" creationId="{EFFA606A-F1B9-C654-8418-8BF5C56CF0F4}"/>
          </ac:spMkLst>
        </pc:spChg>
        <pc:spChg chg="mod">
          <ac:chgData name="Clark, Connie" userId="73351e60-ad32-4085-a232-1d9f9b189479" providerId="ADAL" clId="{5F87A5E2-C2A2-4F23-BC8C-28F7F5EA6CA7}" dt="2024-03-30T02:27:54.111" v="13152" actId="20577"/>
          <ac:spMkLst>
            <pc:docMk/>
            <pc:sldMk cId="819612500" sldId="2147376786"/>
            <ac:spMk id="13" creationId="{6453CB8F-D437-AB31-1471-1B424513D2BD}"/>
          </ac:spMkLst>
        </pc:spChg>
        <pc:spChg chg="mod">
          <ac:chgData name="Clark, Connie" userId="73351e60-ad32-4085-a232-1d9f9b189479" providerId="ADAL" clId="{5F87A5E2-C2A2-4F23-BC8C-28F7F5EA6CA7}" dt="2024-03-25T01:54:20.912" v="1745" actId="207"/>
          <ac:spMkLst>
            <pc:docMk/>
            <pc:sldMk cId="819612500" sldId="2147376786"/>
            <ac:spMk id="14" creationId="{0709AF6B-D385-4757-BB83-642F5F4F8AAA}"/>
          </ac:spMkLst>
        </pc:spChg>
        <pc:spChg chg="add del mod">
          <ac:chgData name="Clark, Connie" userId="73351e60-ad32-4085-a232-1d9f9b189479" providerId="ADAL" clId="{5F87A5E2-C2A2-4F23-BC8C-28F7F5EA6CA7}" dt="2024-03-25T01:56:53.233" v="1764" actId="207"/>
          <ac:spMkLst>
            <pc:docMk/>
            <pc:sldMk cId="819612500" sldId="2147376786"/>
            <ac:spMk id="15" creationId="{E8113205-EF7A-839E-C651-68256AB371F6}"/>
          </ac:spMkLst>
        </pc:spChg>
        <pc:spChg chg="mod">
          <ac:chgData name="Clark, Connie" userId="73351e60-ad32-4085-a232-1d9f9b189479" providerId="ADAL" clId="{5F87A5E2-C2A2-4F23-BC8C-28F7F5EA6CA7}" dt="2024-03-25T01:49:11.439" v="1675"/>
          <ac:spMkLst>
            <pc:docMk/>
            <pc:sldMk cId="819612500" sldId="2147376786"/>
            <ac:spMk id="16" creationId="{1E1F4F65-2465-9B4E-298B-E8C2A48A93A6}"/>
          </ac:spMkLst>
        </pc:spChg>
        <pc:spChg chg="add mod">
          <ac:chgData name="Clark, Connie" userId="73351e60-ad32-4085-a232-1d9f9b189479" providerId="ADAL" clId="{5F87A5E2-C2A2-4F23-BC8C-28F7F5EA6CA7}" dt="2024-03-30T02:08:33.502" v="12913" actId="313"/>
          <ac:spMkLst>
            <pc:docMk/>
            <pc:sldMk cId="819612500" sldId="2147376786"/>
            <ac:spMk id="18" creationId="{A1184915-78B8-F01A-E5A9-15F5D6D6A60C}"/>
          </ac:spMkLst>
        </pc:spChg>
        <pc:spChg chg="add del mod">
          <ac:chgData name="Clark, Connie" userId="73351e60-ad32-4085-a232-1d9f9b189479" providerId="ADAL" clId="{5F87A5E2-C2A2-4F23-BC8C-28F7F5EA6CA7}" dt="2024-03-31T05:21:01.356" v="21486" actId="478"/>
          <ac:spMkLst>
            <pc:docMk/>
            <pc:sldMk cId="819612500" sldId="2147376786"/>
            <ac:spMk id="19" creationId="{EB1B145D-C6D0-7636-B993-3B67735A0205}"/>
          </ac:spMkLst>
        </pc:spChg>
        <pc:spChg chg="add mod">
          <ac:chgData name="Clark, Connie" userId="73351e60-ad32-4085-a232-1d9f9b189479" providerId="ADAL" clId="{5F87A5E2-C2A2-4F23-BC8C-28F7F5EA6CA7}" dt="2024-03-30T02:08:36.554" v="12914" actId="2"/>
          <ac:spMkLst>
            <pc:docMk/>
            <pc:sldMk cId="819612500" sldId="2147376786"/>
            <ac:spMk id="21" creationId="{B3D4CB30-715B-E29B-DF50-18ACA0123CD0}"/>
          </ac:spMkLst>
        </pc:spChg>
        <pc:spChg chg="add del mod">
          <ac:chgData name="Clark, Connie" userId="73351e60-ad32-4085-a232-1d9f9b189479" providerId="ADAL" clId="{5F87A5E2-C2A2-4F23-BC8C-28F7F5EA6CA7}" dt="2024-03-25T01:55:48.390" v="1761" actId="478"/>
          <ac:spMkLst>
            <pc:docMk/>
            <pc:sldMk cId="819612500" sldId="2147376786"/>
            <ac:spMk id="22" creationId="{4A0DED19-150F-473F-17EC-DF710647C852}"/>
          </ac:spMkLst>
        </pc:spChg>
        <pc:spChg chg="add del mod">
          <ac:chgData name="Clark, Connie" userId="73351e60-ad32-4085-a232-1d9f9b189479" providerId="ADAL" clId="{5F87A5E2-C2A2-4F23-BC8C-28F7F5EA6CA7}" dt="2024-03-25T01:55:48.390" v="1761" actId="478"/>
          <ac:spMkLst>
            <pc:docMk/>
            <pc:sldMk cId="819612500" sldId="2147376786"/>
            <ac:spMk id="23" creationId="{D94BE5A8-C5F6-79E5-B647-00794EF4F849}"/>
          </ac:spMkLst>
        </pc:spChg>
        <pc:spChg chg="add del mod">
          <ac:chgData name="Clark, Connie" userId="73351e60-ad32-4085-a232-1d9f9b189479" providerId="ADAL" clId="{5F87A5E2-C2A2-4F23-BC8C-28F7F5EA6CA7}" dt="2024-03-25T01:55:48.390" v="1761" actId="478"/>
          <ac:spMkLst>
            <pc:docMk/>
            <pc:sldMk cId="819612500" sldId="2147376786"/>
            <ac:spMk id="24" creationId="{18EAA867-497A-B597-9020-2DB4A74E5D84}"/>
          </ac:spMkLst>
        </pc:spChg>
        <pc:spChg chg="add mod">
          <ac:chgData name="Clark, Connie" userId="73351e60-ad32-4085-a232-1d9f9b189479" providerId="ADAL" clId="{5F87A5E2-C2A2-4F23-BC8C-28F7F5EA6CA7}" dt="2024-03-25T01:56:10.513" v="1762" actId="207"/>
          <ac:spMkLst>
            <pc:docMk/>
            <pc:sldMk cId="819612500" sldId="2147376786"/>
            <ac:spMk id="25" creationId="{F8B8A1FD-74CC-5DE6-9474-69B5F740CDA2}"/>
          </ac:spMkLst>
        </pc:spChg>
        <pc:spChg chg="add mod">
          <ac:chgData name="Clark, Connie" userId="73351e60-ad32-4085-a232-1d9f9b189479" providerId="ADAL" clId="{5F87A5E2-C2A2-4F23-BC8C-28F7F5EA6CA7}" dt="2024-03-25T01:56:28.746" v="1763" actId="207"/>
          <ac:spMkLst>
            <pc:docMk/>
            <pc:sldMk cId="819612500" sldId="2147376786"/>
            <ac:spMk id="26" creationId="{58E858EA-E162-A77E-B7D4-7A58DE2D54D1}"/>
          </ac:spMkLst>
        </pc:spChg>
        <pc:spChg chg="add mod">
          <ac:chgData name="Clark, Connie" userId="73351e60-ad32-4085-a232-1d9f9b189479" providerId="ADAL" clId="{5F87A5E2-C2A2-4F23-BC8C-28F7F5EA6CA7}" dt="2024-03-25T04:36:20.570" v="4332" actId="14100"/>
          <ac:spMkLst>
            <pc:docMk/>
            <pc:sldMk cId="819612500" sldId="2147376786"/>
            <ac:spMk id="29" creationId="{1CD8533D-23C8-1C15-9EB2-C5DC9A803662}"/>
          </ac:spMkLst>
        </pc:spChg>
        <pc:grpChg chg="add mod">
          <ac:chgData name="Clark, Connie" userId="73351e60-ad32-4085-a232-1d9f9b189479" providerId="ADAL" clId="{5F87A5E2-C2A2-4F23-BC8C-28F7F5EA6CA7}" dt="2024-03-25T01:50:15.136" v="1711" actId="1076"/>
          <ac:grpSpMkLst>
            <pc:docMk/>
            <pc:sldMk cId="819612500" sldId="2147376786"/>
            <ac:grpSpMk id="12" creationId="{27980886-393E-E544-AFA0-98EFD967587F}"/>
          </ac:grpSpMkLst>
        </pc:grpChg>
        <pc:picChg chg="add mod">
          <ac:chgData name="Clark, Connie" userId="73351e60-ad32-4085-a232-1d9f9b189479" providerId="ADAL" clId="{5F87A5E2-C2A2-4F23-BC8C-28F7F5EA6CA7}" dt="2024-03-30T01:19:08.366" v="11545" actId="1076"/>
          <ac:picMkLst>
            <pc:docMk/>
            <pc:sldMk cId="819612500" sldId="2147376786"/>
            <ac:picMk id="28" creationId="{55DD40B6-7034-0F45-3B70-75D34289E27E}"/>
          </ac:picMkLst>
        </pc:picChg>
        <pc:cxnChg chg="add mod">
          <ac:chgData name="Clark, Connie" userId="73351e60-ad32-4085-a232-1d9f9b189479" providerId="ADAL" clId="{5F87A5E2-C2A2-4F23-BC8C-28F7F5EA6CA7}" dt="2024-03-31T05:22:46.574" v="21496" actId="208"/>
          <ac:cxnSpMkLst>
            <pc:docMk/>
            <pc:sldMk cId="819612500" sldId="2147376786"/>
            <ac:cxnSpMk id="7" creationId="{85D1103F-6D11-B879-0659-00B1A64C52F1}"/>
          </ac:cxnSpMkLst>
        </pc:cxnChg>
        <pc:cxnChg chg="add mod">
          <ac:chgData name="Clark, Connie" userId="73351e60-ad32-4085-a232-1d9f9b189479" providerId="ADAL" clId="{5F87A5E2-C2A2-4F23-BC8C-28F7F5EA6CA7}" dt="2024-03-31T05:22:46.574" v="21496" actId="208"/>
          <ac:cxnSpMkLst>
            <pc:docMk/>
            <pc:sldMk cId="819612500" sldId="2147376786"/>
            <ac:cxnSpMk id="9" creationId="{26362CCB-3D61-6D87-535C-BBA0B0C11BCA}"/>
          </ac:cxnSpMkLst>
        </pc:cxnChg>
      </pc:sldChg>
      <pc:sldChg chg="addSp delSp modSp add mod ord">
        <pc:chgData name="Clark, Connie" userId="73351e60-ad32-4085-a232-1d9f9b189479" providerId="ADAL" clId="{5F87A5E2-C2A2-4F23-BC8C-28F7F5EA6CA7}" dt="2024-03-30T00:53:11.375" v="11139"/>
        <pc:sldMkLst>
          <pc:docMk/>
          <pc:sldMk cId="4261304239" sldId="2147376787"/>
        </pc:sldMkLst>
        <pc:spChg chg="mod">
          <ac:chgData name="Clark, Connie" userId="73351e60-ad32-4085-a232-1d9f9b189479" providerId="ADAL" clId="{5F87A5E2-C2A2-4F23-BC8C-28F7F5EA6CA7}" dt="2024-03-25T02:56:47.408" v="3380" actId="108"/>
          <ac:spMkLst>
            <pc:docMk/>
            <pc:sldMk cId="4261304239" sldId="2147376787"/>
            <ac:spMk id="2" creationId="{83599916-EC5B-3624-32A1-2FCE019F5418}"/>
          </ac:spMkLst>
        </pc:spChg>
        <pc:spChg chg="del">
          <ac:chgData name="Clark, Connie" userId="73351e60-ad32-4085-a232-1d9f9b189479" providerId="ADAL" clId="{5F87A5E2-C2A2-4F23-BC8C-28F7F5EA6CA7}" dt="2024-03-25T02:53:38.286" v="3340" actId="478"/>
          <ac:spMkLst>
            <pc:docMk/>
            <pc:sldMk cId="4261304239" sldId="2147376787"/>
            <ac:spMk id="3" creationId="{9AFBF33D-ED8C-A6DE-E037-F533CE2052F2}"/>
          </ac:spMkLst>
        </pc:spChg>
        <pc:spChg chg="mod">
          <ac:chgData name="Clark, Connie" userId="73351e60-ad32-4085-a232-1d9f9b189479" providerId="ADAL" clId="{5F87A5E2-C2A2-4F23-BC8C-28F7F5EA6CA7}" dt="2024-03-25T02:54:03.684" v="3341" actId="1076"/>
          <ac:spMkLst>
            <pc:docMk/>
            <pc:sldMk cId="4261304239" sldId="2147376787"/>
            <ac:spMk id="5" creationId="{D21F4427-86B7-E854-765E-3711E2CE70E7}"/>
          </ac:spMkLst>
        </pc:spChg>
        <pc:spChg chg="mod">
          <ac:chgData name="Clark, Connie" userId="73351e60-ad32-4085-a232-1d9f9b189479" providerId="ADAL" clId="{5F87A5E2-C2A2-4F23-BC8C-28F7F5EA6CA7}" dt="2024-03-25T02:54:03.684" v="3341" actId="1076"/>
          <ac:spMkLst>
            <pc:docMk/>
            <pc:sldMk cId="4261304239" sldId="2147376787"/>
            <ac:spMk id="6" creationId="{5AEF68B1-33EA-F546-CBA8-CB8CA9C99E19}"/>
          </ac:spMkLst>
        </pc:spChg>
        <pc:spChg chg="add del mod">
          <ac:chgData name="Clark, Connie" userId="73351e60-ad32-4085-a232-1d9f9b189479" providerId="ADAL" clId="{5F87A5E2-C2A2-4F23-BC8C-28F7F5EA6CA7}" dt="2024-03-25T02:49:40.660" v="3294" actId="478"/>
          <ac:spMkLst>
            <pc:docMk/>
            <pc:sldMk cId="4261304239" sldId="2147376787"/>
            <ac:spMk id="7" creationId="{10D89D5A-0B49-A01D-4132-5F6F30BD1FE1}"/>
          </ac:spMkLst>
        </pc:spChg>
        <pc:spChg chg="add mod">
          <ac:chgData name="Clark, Connie" userId="73351e60-ad32-4085-a232-1d9f9b189479" providerId="ADAL" clId="{5F87A5E2-C2A2-4F23-BC8C-28F7F5EA6CA7}" dt="2024-03-25T02:54:03.684" v="3341" actId="1076"/>
          <ac:spMkLst>
            <pc:docMk/>
            <pc:sldMk cId="4261304239" sldId="2147376787"/>
            <ac:spMk id="8" creationId="{94C0DBA9-B23C-A298-DCB5-4FFF0DED5A98}"/>
          </ac:spMkLst>
        </pc:spChg>
        <pc:spChg chg="add mod">
          <ac:chgData name="Clark, Connie" userId="73351e60-ad32-4085-a232-1d9f9b189479" providerId="ADAL" clId="{5F87A5E2-C2A2-4F23-BC8C-28F7F5EA6CA7}" dt="2024-03-25T02:54:03.684" v="3341" actId="1076"/>
          <ac:spMkLst>
            <pc:docMk/>
            <pc:sldMk cId="4261304239" sldId="2147376787"/>
            <ac:spMk id="9" creationId="{16FF5B44-8E7A-A27E-FC74-00B48880EB11}"/>
          </ac:spMkLst>
        </pc:spChg>
        <pc:spChg chg="mod">
          <ac:chgData name="Clark, Connie" userId="73351e60-ad32-4085-a232-1d9f9b189479" providerId="ADAL" clId="{5F87A5E2-C2A2-4F23-BC8C-28F7F5EA6CA7}" dt="2024-03-25T02:54:03.684" v="3341" actId="1076"/>
          <ac:spMkLst>
            <pc:docMk/>
            <pc:sldMk cId="4261304239" sldId="2147376787"/>
            <ac:spMk id="10" creationId="{45BF0D58-7EF9-D66D-D19E-A3C2A57E37C8}"/>
          </ac:spMkLst>
        </pc:spChg>
        <pc:spChg chg="add mod">
          <ac:chgData name="Clark, Connie" userId="73351e60-ad32-4085-a232-1d9f9b189479" providerId="ADAL" clId="{5F87A5E2-C2A2-4F23-BC8C-28F7F5EA6CA7}" dt="2024-03-25T02:54:03.684" v="3341" actId="1076"/>
          <ac:spMkLst>
            <pc:docMk/>
            <pc:sldMk cId="4261304239" sldId="2147376787"/>
            <ac:spMk id="11" creationId="{3D8C1939-C563-CF42-2DAE-7304EF3081F7}"/>
          </ac:spMkLst>
        </pc:spChg>
        <pc:spChg chg="mod">
          <ac:chgData name="Clark, Connie" userId="73351e60-ad32-4085-a232-1d9f9b189479" providerId="ADAL" clId="{5F87A5E2-C2A2-4F23-BC8C-28F7F5EA6CA7}" dt="2024-03-25T02:54:03.684" v="3341" actId="1076"/>
          <ac:spMkLst>
            <pc:docMk/>
            <pc:sldMk cId="4261304239" sldId="2147376787"/>
            <ac:spMk id="12" creationId="{7D39EFB9-FAA5-2BB7-DC5E-A87B4D8AF08D}"/>
          </ac:spMkLst>
        </pc:spChg>
        <pc:spChg chg="mod">
          <ac:chgData name="Clark, Connie" userId="73351e60-ad32-4085-a232-1d9f9b189479" providerId="ADAL" clId="{5F87A5E2-C2A2-4F23-BC8C-28F7F5EA6CA7}" dt="2024-03-25T02:54:03.684" v="3341" actId="1076"/>
          <ac:spMkLst>
            <pc:docMk/>
            <pc:sldMk cId="4261304239" sldId="2147376787"/>
            <ac:spMk id="16" creationId="{D443A33F-9934-8EE5-D5FB-A1447ECF2107}"/>
          </ac:spMkLst>
        </pc:spChg>
        <pc:spChg chg="mod">
          <ac:chgData name="Clark, Connie" userId="73351e60-ad32-4085-a232-1d9f9b189479" providerId="ADAL" clId="{5F87A5E2-C2A2-4F23-BC8C-28F7F5EA6CA7}" dt="2024-03-25T02:54:03.684" v="3341" actId="1076"/>
          <ac:spMkLst>
            <pc:docMk/>
            <pc:sldMk cId="4261304239" sldId="2147376787"/>
            <ac:spMk id="18" creationId="{8F8D35F7-645F-99A3-E858-E644BF15E709}"/>
          </ac:spMkLst>
        </pc:spChg>
        <pc:spChg chg="mod">
          <ac:chgData name="Clark, Connie" userId="73351e60-ad32-4085-a232-1d9f9b189479" providerId="ADAL" clId="{5F87A5E2-C2A2-4F23-BC8C-28F7F5EA6CA7}" dt="2024-03-25T02:54:03.684" v="3341" actId="1076"/>
          <ac:spMkLst>
            <pc:docMk/>
            <pc:sldMk cId="4261304239" sldId="2147376787"/>
            <ac:spMk id="20" creationId="{FDC68BA1-1290-CBD6-3781-33734D22183D}"/>
          </ac:spMkLst>
        </pc:spChg>
      </pc:sldChg>
      <pc:sldChg chg="addSp delSp modSp add del mod ord">
        <pc:chgData name="Clark, Connie" userId="73351e60-ad32-4085-a232-1d9f9b189479" providerId="ADAL" clId="{5F87A5E2-C2A2-4F23-BC8C-28F7F5EA6CA7}" dt="2024-05-24T00:09:13.161" v="31035" actId="2696"/>
        <pc:sldMkLst>
          <pc:docMk/>
          <pc:sldMk cId="2818386996" sldId="2147376788"/>
        </pc:sldMkLst>
        <pc:spChg chg="mod">
          <ac:chgData name="Clark, Connie" userId="73351e60-ad32-4085-a232-1d9f9b189479" providerId="ADAL" clId="{5F87A5E2-C2A2-4F23-BC8C-28F7F5EA6CA7}" dt="2024-03-31T05:20:02.602" v="21481" actId="207"/>
          <ac:spMkLst>
            <pc:docMk/>
            <pc:sldMk cId="2818386996" sldId="2147376788"/>
            <ac:spMk id="4" creationId="{7E78FA78-ABD1-E962-7429-A8D1FDE37E9F}"/>
          </ac:spMkLst>
        </pc:spChg>
        <pc:spChg chg="mod">
          <ac:chgData name="Clark, Connie" userId="73351e60-ad32-4085-a232-1d9f9b189479" providerId="ADAL" clId="{5F87A5E2-C2A2-4F23-BC8C-28F7F5EA6CA7}" dt="2024-03-31T05:19:15.124" v="21478" actId="20577"/>
          <ac:spMkLst>
            <pc:docMk/>
            <pc:sldMk cId="2818386996" sldId="2147376788"/>
            <ac:spMk id="5" creationId="{EFFA606A-F1B9-C654-8418-8BF5C56CF0F4}"/>
          </ac:spMkLst>
        </pc:spChg>
        <pc:spChg chg="mod">
          <ac:chgData name="Clark, Connie" userId="73351e60-ad32-4085-a232-1d9f9b189479" providerId="ADAL" clId="{5F87A5E2-C2A2-4F23-BC8C-28F7F5EA6CA7}" dt="2024-03-30T02:27:44.298" v="13149" actId="20577"/>
          <ac:spMkLst>
            <pc:docMk/>
            <pc:sldMk cId="2818386996" sldId="2147376788"/>
            <ac:spMk id="13" creationId="{6453CB8F-D437-AB31-1471-1B424513D2BD}"/>
          </ac:spMkLst>
        </pc:spChg>
        <pc:spChg chg="del">
          <ac:chgData name="Clark, Connie" userId="73351e60-ad32-4085-a232-1d9f9b189479" providerId="ADAL" clId="{5F87A5E2-C2A2-4F23-BC8C-28F7F5EA6CA7}" dt="2024-03-25T02:02:43.407" v="1985" actId="478"/>
          <ac:spMkLst>
            <pc:docMk/>
            <pc:sldMk cId="2818386996" sldId="2147376788"/>
            <ac:spMk id="18" creationId="{A1184915-78B8-F01A-E5A9-15F5D6D6A60C}"/>
          </ac:spMkLst>
        </pc:spChg>
        <pc:spChg chg="mod">
          <ac:chgData name="Clark, Connie" userId="73351e60-ad32-4085-a232-1d9f9b189479" providerId="ADAL" clId="{5F87A5E2-C2A2-4F23-BC8C-28F7F5EA6CA7}" dt="2024-03-31T05:20:33.758" v="21482" actId="207"/>
          <ac:spMkLst>
            <pc:docMk/>
            <pc:sldMk cId="2818386996" sldId="2147376788"/>
            <ac:spMk id="19" creationId="{EB1B145D-C6D0-7636-B993-3B67735A0205}"/>
          </ac:spMkLst>
        </pc:spChg>
        <pc:spChg chg="add del mod">
          <ac:chgData name="Clark, Connie" userId="73351e60-ad32-4085-a232-1d9f9b189479" providerId="ADAL" clId="{5F87A5E2-C2A2-4F23-BC8C-28F7F5EA6CA7}" dt="2024-03-30T02:08:26.774" v="12910" actId="2"/>
          <ac:spMkLst>
            <pc:docMk/>
            <pc:sldMk cId="2818386996" sldId="2147376788"/>
            <ac:spMk id="21" creationId="{B3D4CB30-715B-E29B-DF50-18ACA0123CD0}"/>
          </ac:spMkLst>
        </pc:spChg>
        <pc:cxnChg chg="mod">
          <ac:chgData name="Clark, Connie" userId="73351e60-ad32-4085-a232-1d9f9b189479" providerId="ADAL" clId="{5F87A5E2-C2A2-4F23-BC8C-28F7F5EA6CA7}" dt="2024-03-31T05:19:56.592" v="21480" actId="692"/>
          <ac:cxnSpMkLst>
            <pc:docMk/>
            <pc:sldMk cId="2818386996" sldId="2147376788"/>
            <ac:cxnSpMk id="7" creationId="{85D1103F-6D11-B879-0659-00B1A64C52F1}"/>
          </ac:cxnSpMkLst>
        </pc:cxnChg>
        <pc:cxnChg chg="mod">
          <ac:chgData name="Clark, Connie" userId="73351e60-ad32-4085-a232-1d9f9b189479" providerId="ADAL" clId="{5F87A5E2-C2A2-4F23-BC8C-28F7F5EA6CA7}" dt="2024-03-31T05:19:56.592" v="21480" actId="692"/>
          <ac:cxnSpMkLst>
            <pc:docMk/>
            <pc:sldMk cId="2818386996" sldId="2147376788"/>
            <ac:cxnSpMk id="9" creationId="{26362CCB-3D61-6D87-535C-BBA0B0C11BCA}"/>
          </ac:cxnSpMkLst>
        </pc:cxnChg>
      </pc:sldChg>
      <pc:sldChg chg="addSp delSp modSp add del mod ord">
        <pc:chgData name="Clark, Connie" userId="73351e60-ad32-4085-a232-1d9f9b189479" providerId="ADAL" clId="{5F87A5E2-C2A2-4F23-BC8C-28F7F5EA6CA7}" dt="2024-05-24T00:09:13.161" v="31035" actId="2696"/>
        <pc:sldMkLst>
          <pc:docMk/>
          <pc:sldMk cId="1278941578" sldId="2147376789"/>
        </pc:sldMkLst>
        <pc:spChg chg="add mod">
          <ac:chgData name="Clark, Connie" userId="73351e60-ad32-4085-a232-1d9f9b189479" providerId="ADAL" clId="{5F87A5E2-C2A2-4F23-BC8C-28F7F5EA6CA7}" dt="2024-03-31T05:21:24.325" v="21489"/>
          <ac:spMkLst>
            <pc:docMk/>
            <pc:sldMk cId="1278941578" sldId="2147376789"/>
            <ac:spMk id="2" creationId="{2F87AFFF-274F-47EB-9940-DDDD4B9BCE50}"/>
          </ac:spMkLst>
        </pc:spChg>
        <pc:spChg chg="add del mod">
          <ac:chgData name="Clark, Connie" userId="73351e60-ad32-4085-a232-1d9f9b189479" providerId="ADAL" clId="{5F87A5E2-C2A2-4F23-BC8C-28F7F5EA6CA7}" dt="2024-03-30T01:30:57.616" v="11691" actId="478"/>
          <ac:spMkLst>
            <pc:docMk/>
            <pc:sldMk cId="1278941578" sldId="2147376789"/>
            <ac:spMk id="2" creationId="{F68843B7-7CB6-0C0C-CF7F-06227BA892B9}"/>
          </ac:spMkLst>
        </pc:spChg>
        <pc:spChg chg="add mod">
          <ac:chgData name="Clark, Connie" userId="73351e60-ad32-4085-a232-1d9f9b189479" providerId="ADAL" clId="{5F87A5E2-C2A2-4F23-BC8C-28F7F5EA6CA7}" dt="2024-03-30T02:09:04.096" v="12919" actId="20577"/>
          <ac:spMkLst>
            <pc:docMk/>
            <pc:sldMk cId="1278941578" sldId="2147376789"/>
            <ac:spMk id="3" creationId="{464D618D-8C8A-597D-4A12-E298BE8B5435}"/>
          </ac:spMkLst>
        </pc:spChg>
        <pc:spChg chg="mod">
          <ac:chgData name="Clark, Connie" userId="73351e60-ad32-4085-a232-1d9f9b189479" providerId="ADAL" clId="{5F87A5E2-C2A2-4F23-BC8C-28F7F5EA6CA7}" dt="2024-03-31T05:23:24.165" v="21498" actId="208"/>
          <ac:spMkLst>
            <pc:docMk/>
            <pc:sldMk cId="1278941578" sldId="2147376789"/>
            <ac:spMk id="4" creationId="{7E78FA78-ABD1-E962-7429-A8D1FDE37E9F}"/>
          </ac:spMkLst>
        </pc:spChg>
        <pc:spChg chg="mod">
          <ac:chgData name="Clark, Connie" userId="73351e60-ad32-4085-a232-1d9f9b189479" providerId="ADAL" clId="{5F87A5E2-C2A2-4F23-BC8C-28F7F5EA6CA7}" dt="2024-03-30T02:08:44.658" v="12917" actId="2"/>
          <ac:spMkLst>
            <pc:docMk/>
            <pc:sldMk cId="1278941578" sldId="2147376789"/>
            <ac:spMk id="5" creationId="{EFFA606A-F1B9-C654-8418-8BF5C56CF0F4}"/>
          </ac:spMkLst>
        </pc:spChg>
        <pc:spChg chg="mod">
          <ac:chgData name="Clark, Connie" userId="73351e60-ad32-4085-a232-1d9f9b189479" providerId="ADAL" clId="{5F87A5E2-C2A2-4F23-BC8C-28F7F5EA6CA7}" dt="2024-03-30T02:08:48.306" v="12918" actId="313"/>
          <ac:spMkLst>
            <pc:docMk/>
            <pc:sldMk cId="1278941578" sldId="2147376789"/>
            <ac:spMk id="13" creationId="{6453CB8F-D437-AB31-1471-1B424513D2BD}"/>
          </ac:spMkLst>
        </pc:spChg>
        <pc:spChg chg="del">
          <ac:chgData name="Clark, Connie" userId="73351e60-ad32-4085-a232-1d9f9b189479" providerId="ADAL" clId="{5F87A5E2-C2A2-4F23-BC8C-28F7F5EA6CA7}" dt="2024-03-25T02:31:58.251" v="2776" actId="478"/>
          <ac:spMkLst>
            <pc:docMk/>
            <pc:sldMk cId="1278941578" sldId="2147376789"/>
            <ac:spMk id="18" creationId="{A1184915-78B8-F01A-E5A9-15F5D6D6A60C}"/>
          </ac:spMkLst>
        </pc:spChg>
        <pc:spChg chg="del">
          <ac:chgData name="Clark, Connie" userId="73351e60-ad32-4085-a232-1d9f9b189479" providerId="ADAL" clId="{5F87A5E2-C2A2-4F23-BC8C-28F7F5EA6CA7}" dt="2024-03-31T05:21:21.977" v="21488" actId="478"/>
          <ac:spMkLst>
            <pc:docMk/>
            <pc:sldMk cId="1278941578" sldId="2147376789"/>
            <ac:spMk id="19" creationId="{EB1B145D-C6D0-7636-B993-3B67735A0205}"/>
          </ac:spMkLst>
        </pc:spChg>
        <pc:spChg chg="del mod">
          <ac:chgData name="Clark, Connie" userId="73351e60-ad32-4085-a232-1d9f9b189479" providerId="ADAL" clId="{5F87A5E2-C2A2-4F23-BC8C-28F7F5EA6CA7}" dt="2024-03-25T02:34:38.375" v="2953" actId="478"/>
          <ac:spMkLst>
            <pc:docMk/>
            <pc:sldMk cId="1278941578" sldId="2147376789"/>
            <ac:spMk id="21" creationId="{B3D4CB30-715B-E29B-DF50-18ACA0123CD0}"/>
          </ac:spMkLst>
        </pc:spChg>
        <pc:spChg chg="mod">
          <ac:chgData name="Clark, Connie" userId="73351e60-ad32-4085-a232-1d9f9b189479" providerId="ADAL" clId="{5F87A5E2-C2A2-4F23-BC8C-28F7F5EA6CA7}" dt="2024-03-25T04:39:03.772" v="4363" actId="1035"/>
          <ac:spMkLst>
            <pc:docMk/>
            <pc:sldMk cId="1278941578" sldId="2147376789"/>
            <ac:spMk id="25" creationId="{F8B8A1FD-74CC-5DE6-9474-69B5F740CDA2}"/>
          </ac:spMkLst>
        </pc:spChg>
        <pc:spChg chg="mod">
          <ac:chgData name="Clark, Connie" userId="73351e60-ad32-4085-a232-1d9f9b189479" providerId="ADAL" clId="{5F87A5E2-C2A2-4F23-BC8C-28F7F5EA6CA7}" dt="2024-03-25T04:39:03.772" v="4363" actId="1035"/>
          <ac:spMkLst>
            <pc:docMk/>
            <pc:sldMk cId="1278941578" sldId="2147376789"/>
            <ac:spMk id="26" creationId="{58E858EA-E162-A77E-B7D4-7A58DE2D54D1}"/>
          </ac:spMkLst>
        </pc:spChg>
        <pc:grpChg chg="mod">
          <ac:chgData name="Clark, Connie" userId="73351e60-ad32-4085-a232-1d9f9b189479" providerId="ADAL" clId="{5F87A5E2-C2A2-4F23-BC8C-28F7F5EA6CA7}" dt="2024-03-25T04:39:03.772" v="4363" actId="1035"/>
          <ac:grpSpMkLst>
            <pc:docMk/>
            <pc:sldMk cId="1278941578" sldId="2147376789"/>
            <ac:grpSpMk id="12" creationId="{27980886-393E-E544-AFA0-98EFD967587F}"/>
          </ac:grpSpMkLst>
        </pc:grpChg>
        <pc:cxnChg chg="mod">
          <ac:chgData name="Clark, Connie" userId="73351e60-ad32-4085-a232-1d9f9b189479" providerId="ADAL" clId="{5F87A5E2-C2A2-4F23-BC8C-28F7F5EA6CA7}" dt="2024-03-31T05:23:34.221" v="21499" actId="208"/>
          <ac:cxnSpMkLst>
            <pc:docMk/>
            <pc:sldMk cId="1278941578" sldId="2147376789"/>
            <ac:cxnSpMk id="7" creationId="{85D1103F-6D11-B879-0659-00B1A64C52F1}"/>
          </ac:cxnSpMkLst>
        </pc:cxnChg>
        <pc:cxnChg chg="mod">
          <ac:chgData name="Clark, Connie" userId="73351e60-ad32-4085-a232-1d9f9b189479" providerId="ADAL" clId="{5F87A5E2-C2A2-4F23-BC8C-28F7F5EA6CA7}" dt="2024-03-31T05:23:34.221" v="21499" actId="208"/>
          <ac:cxnSpMkLst>
            <pc:docMk/>
            <pc:sldMk cId="1278941578" sldId="2147376789"/>
            <ac:cxnSpMk id="9" creationId="{26362CCB-3D61-6D87-535C-BBA0B0C11BCA}"/>
          </ac:cxnSpMkLst>
        </pc:cxnChg>
      </pc:sldChg>
      <pc:sldChg chg="addSp delSp modSp add mod ord delAnim">
        <pc:chgData name="Clark, Connie" userId="73351e60-ad32-4085-a232-1d9f9b189479" providerId="ADAL" clId="{5F87A5E2-C2A2-4F23-BC8C-28F7F5EA6CA7}" dt="2024-05-24T00:00:31.973" v="31032" actId="1076"/>
        <pc:sldMkLst>
          <pc:docMk/>
          <pc:sldMk cId="3958462050" sldId="2147376790"/>
        </pc:sldMkLst>
        <pc:spChg chg="add mod">
          <ac:chgData name="Clark, Connie" userId="73351e60-ad32-4085-a232-1d9f9b189479" providerId="ADAL" clId="{5F87A5E2-C2A2-4F23-BC8C-28F7F5EA6CA7}" dt="2024-03-29T23:38:33.736" v="8799"/>
          <ac:spMkLst>
            <pc:docMk/>
            <pc:sldMk cId="3958462050" sldId="2147376790"/>
            <ac:spMk id="2" creationId="{95532228-3B14-A680-FB46-BDC60E130B67}"/>
          </ac:spMkLst>
        </pc:spChg>
        <pc:spChg chg="add del mod">
          <ac:chgData name="Clark, Connie" userId="73351e60-ad32-4085-a232-1d9f9b189479" providerId="ADAL" clId="{5F87A5E2-C2A2-4F23-BC8C-28F7F5EA6CA7}" dt="2024-03-25T03:20:06.185" v="3493"/>
          <ac:spMkLst>
            <pc:docMk/>
            <pc:sldMk cId="3958462050" sldId="2147376790"/>
            <ac:spMk id="2" creationId="{AC37A2D0-0043-D20F-8978-21B2E91F5497}"/>
          </ac:spMkLst>
        </pc:spChg>
        <pc:spChg chg="del">
          <ac:chgData name="Clark, Connie" userId="73351e60-ad32-4085-a232-1d9f9b189479" providerId="ADAL" clId="{5F87A5E2-C2A2-4F23-BC8C-28F7F5EA6CA7}" dt="2024-03-29T23:38:32.304" v="8798" actId="478"/>
          <ac:spMkLst>
            <pc:docMk/>
            <pc:sldMk cId="3958462050" sldId="2147376790"/>
            <ac:spMk id="3" creationId="{9AFBF33D-ED8C-A6DE-E037-F533CE2052F2}"/>
          </ac:spMkLst>
        </pc:spChg>
        <pc:spChg chg="add mod">
          <ac:chgData name="Clark, Connie" userId="73351e60-ad32-4085-a232-1d9f9b189479" providerId="ADAL" clId="{5F87A5E2-C2A2-4F23-BC8C-28F7F5EA6CA7}" dt="2024-05-24T00:00:31.973" v="31032" actId="1076"/>
          <ac:spMkLst>
            <pc:docMk/>
            <pc:sldMk cId="3958462050" sldId="2147376790"/>
            <ac:spMk id="3" creationId="{E4895F33-E0D7-9A50-9CEB-A271419E586D}"/>
          </ac:spMkLst>
        </pc:spChg>
        <pc:spChg chg="del">
          <ac:chgData name="Clark, Connie" userId="73351e60-ad32-4085-a232-1d9f9b189479" providerId="ADAL" clId="{5F87A5E2-C2A2-4F23-BC8C-28F7F5EA6CA7}" dt="2024-03-29T23:38:31.098" v="8797" actId="478"/>
          <ac:spMkLst>
            <pc:docMk/>
            <pc:sldMk cId="3958462050" sldId="2147376790"/>
            <ac:spMk id="4" creationId="{A4F4489F-E638-7273-86A5-F120A8F53A51}"/>
          </ac:spMkLst>
        </pc:spChg>
        <pc:spChg chg="add mod">
          <ac:chgData name="Clark, Connie" userId="73351e60-ad32-4085-a232-1d9f9b189479" providerId="ADAL" clId="{5F87A5E2-C2A2-4F23-BC8C-28F7F5EA6CA7}" dt="2024-03-29T23:38:33.736" v="8799"/>
          <ac:spMkLst>
            <pc:docMk/>
            <pc:sldMk cId="3958462050" sldId="2147376790"/>
            <ac:spMk id="5" creationId="{D6E3B2B7-0B59-8372-AB37-997DBF5D67AE}"/>
          </ac:spMkLst>
        </pc:spChg>
        <pc:spChg chg="add del mod">
          <ac:chgData name="Clark, Connie" userId="73351e60-ad32-4085-a232-1d9f9b189479" providerId="ADAL" clId="{5F87A5E2-C2A2-4F23-BC8C-28F7F5EA6CA7}" dt="2024-03-25T03:20:06.185" v="3493"/>
          <ac:spMkLst>
            <pc:docMk/>
            <pc:sldMk cId="3958462050" sldId="2147376790"/>
            <ac:spMk id="6" creationId="{6DC820CE-6D4B-5C75-8537-EFB707373E13}"/>
          </ac:spMkLst>
        </pc:spChg>
        <pc:spChg chg="add del mod">
          <ac:chgData name="Clark, Connie" userId="73351e60-ad32-4085-a232-1d9f9b189479" providerId="ADAL" clId="{5F87A5E2-C2A2-4F23-BC8C-28F7F5EA6CA7}" dt="2024-03-25T03:20:06.185" v="3493"/>
          <ac:spMkLst>
            <pc:docMk/>
            <pc:sldMk cId="3958462050" sldId="2147376790"/>
            <ac:spMk id="7" creationId="{AA5A03F0-75CF-A572-71E0-CA1F407F813E}"/>
          </ac:spMkLst>
        </pc:spChg>
        <pc:spChg chg="add del mod">
          <ac:chgData name="Clark, Connie" userId="73351e60-ad32-4085-a232-1d9f9b189479" providerId="ADAL" clId="{5F87A5E2-C2A2-4F23-BC8C-28F7F5EA6CA7}" dt="2024-03-25T03:20:06.185" v="3493"/>
          <ac:spMkLst>
            <pc:docMk/>
            <pc:sldMk cId="3958462050" sldId="2147376790"/>
            <ac:spMk id="8" creationId="{A91C5BD2-CF6F-700B-0C3A-1817519AFCFF}"/>
          </ac:spMkLst>
        </pc:spChg>
        <pc:spChg chg="add del mod">
          <ac:chgData name="Clark, Connie" userId="73351e60-ad32-4085-a232-1d9f9b189479" providerId="ADAL" clId="{5F87A5E2-C2A2-4F23-BC8C-28F7F5EA6CA7}" dt="2024-03-25T03:20:06.185" v="3493"/>
          <ac:spMkLst>
            <pc:docMk/>
            <pc:sldMk cId="3958462050" sldId="2147376790"/>
            <ac:spMk id="9" creationId="{0CD89922-9DA6-5D8B-A6C8-A3FBFD4FCF14}"/>
          </ac:spMkLst>
        </pc:spChg>
        <pc:spChg chg="add del mod">
          <ac:chgData name="Clark, Connie" userId="73351e60-ad32-4085-a232-1d9f9b189479" providerId="ADAL" clId="{5F87A5E2-C2A2-4F23-BC8C-28F7F5EA6CA7}" dt="2024-03-25T03:20:06.185" v="3493"/>
          <ac:spMkLst>
            <pc:docMk/>
            <pc:sldMk cId="3958462050" sldId="2147376790"/>
            <ac:spMk id="11" creationId="{6CB98579-B076-ABA5-90F2-17660E885A93}"/>
          </ac:spMkLst>
        </pc:spChg>
        <pc:spChg chg="add del mod">
          <ac:chgData name="Clark, Connie" userId="73351e60-ad32-4085-a232-1d9f9b189479" providerId="ADAL" clId="{5F87A5E2-C2A2-4F23-BC8C-28F7F5EA6CA7}" dt="2024-03-25T03:20:06.185" v="3493"/>
          <ac:spMkLst>
            <pc:docMk/>
            <pc:sldMk cId="3958462050" sldId="2147376790"/>
            <ac:spMk id="12" creationId="{6C87116A-F6A8-FE34-701F-49101285F884}"/>
          </ac:spMkLst>
        </pc:spChg>
        <pc:spChg chg="add del mod">
          <ac:chgData name="Clark, Connie" userId="73351e60-ad32-4085-a232-1d9f9b189479" providerId="ADAL" clId="{5F87A5E2-C2A2-4F23-BC8C-28F7F5EA6CA7}" dt="2024-03-25T03:20:06.185" v="3493"/>
          <ac:spMkLst>
            <pc:docMk/>
            <pc:sldMk cId="3958462050" sldId="2147376790"/>
            <ac:spMk id="13" creationId="{55A511C1-9069-1988-A95A-CA9647AD4C85}"/>
          </ac:spMkLst>
        </pc:spChg>
        <pc:spChg chg="add del mod">
          <ac:chgData name="Clark, Connie" userId="73351e60-ad32-4085-a232-1d9f9b189479" providerId="ADAL" clId="{5F87A5E2-C2A2-4F23-BC8C-28F7F5EA6CA7}" dt="2024-03-25T03:20:06.185" v="3493"/>
          <ac:spMkLst>
            <pc:docMk/>
            <pc:sldMk cId="3958462050" sldId="2147376790"/>
            <ac:spMk id="22" creationId="{C590A3CD-5916-1A04-364A-874567B9123C}"/>
          </ac:spMkLst>
        </pc:spChg>
        <pc:spChg chg="add del mod">
          <ac:chgData name="Clark, Connie" userId="73351e60-ad32-4085-a232-1d9f9b189479" providerId="ADAL" clId="{5F87A5E2-C2A2-4F23-BC8C-28F7F5EA6CA7}" dt="2024-03-25T03:20:06.185" v="3493"/>
          <ac:spMkLst>
            <pc:docMk/>
            <pc:sldMk cId="3958462050" sldId="2147376790"/>
            <ac:spMk id="23" creationId="{B3F58478-4DA3-4AAA-BAB5-B7C4AFA30918}"/>
          </ac:spMkLst>
        </pc:spChg>
        <pc:spChg chg="add del mod">
          <ac:chgData name="Clark, Connie" userId="73351e60-ad32-4085-a232-1d9f9b189479" providerId="ADAL" clId="{5F87A5E2-C2A2-4F23-BC8C-28F7F5EA6CA7}" dt="2024-03-25T03:20:06.185" v="3493"/>
          <ac:spMkLst>
            <pc:docMk/>
            <pc:sldMk cId="3958462050" sldId="2147376790"/>
            <ac:spMk id="24" creationId="{04AA48FA-2271-94D3-B456-CBA957DB956C}"/>
          </ac:spMkLst>
        </pc:spChg>
        <pc:spChg chg="add del mod">
          <ac:chgData name="Clark, Connie" userId="73351e60-ad32-4085-a232-1d9f9b189479" providerId="ADAL" clId="{5F87A5E2-C2A2-4F23-BC8C-28F7F5EA6CA7}" dt="2024-03-25T03:20:06.185" v="3493"/>
          <ac:spMkLst>
            <pc:docMk/>
            <pc:sldMk cId="3958462050" sldId="2147376790"/>
            <ac:spMk id="25" creationId="{0E0B1782-DD13-C05E-5092-175E148AEE8D}"/>
          </ac:spMkLst>
        </pc:spChg>
        <pc:spChg chg="add del mod">
          <ac:chgData name="Clark, Connie" userId="73351e60-ad32-4085-a232-1d9f9b189479" providerId="ADAL" clId="{5F87A5E2-C2A2-4F23-BC8C-28F7F5EA6CA7}" dt="2024-03-25T03:20:06.185" v="3493"/>
          <ac:spMkLst>
            <pc:docMk/>
            <pc:sldMk cId="3958462050" sldId="2147376790"/>
            <ac:spMk id="26" creationId="{143F0746-F044-8477-AE80-F89920BA522C}"/>
          </ac:spMkLst>
        </pc:spChg>
        <pc:spChg chg="add del mod">
          <ac:chgData name="Clark, Connie" userId="73351e60-ad32-4085-a232-1d9f9b189479" providerId="ADAL" clId="{5F87A5E2-C2A2-4F23-BC8C-28F7F5EA6CA7}" dt="2024-03-25T03:20:06.185" v="3493"/>
          <ac:spMkLst>
            <pc:docMk/>
            <pc:sldMk cId="3958462050" sldId="2147376790"/>
            <ac:spMk id="27" creationId="{0EECCCC8-0976-A5D9-34EB-2BF9B26C7AE9}"/>
          </ac:spMkLst>
        </pc:spChg>
        <pc:spChg chg="add mod">
          <ac:chgData name="Clark, Connie" userId="73351e60-ad32-4085-a232-1d9f9b189479" providerId="ADAL" clId="{5F87A5E2-C2A2-4F23-BC8C-28F7F5EA6CA7}" dt="2024-03-25T03:22:37.959" v="3524" actId="1076"/>
          <ac:spMkLst>
            <pc:docMk/>
            <pc:sldMk cId="3958462050" sldId="2147376790"/>
            <ac:spMk id="28" creationId="{2E6D0D01-6A0F-C209-2507-315A7F45EFD9}"/>
          </ac:spMkLst>
        </pc:spChg>
        <pc:spChg chg="add mod">
          <ac:chgData name="Clark, Connie" userId="73351e60-ad32-4085-a232-1d9f9b189479" providerId="ADAL" clId="{5F87A5E2-C2A2-4F23-BC8C-28F7F5EA6CA7}" dt="2024-03-25T03:20:06.739" v="3495" actId="27636"/>
          <ac:spMkLst>
            <pc:docMk/>
            <pc:sldMk cId="3958462050" sldId="2147376790"/>
            <ac:spMk id="30" creationId="{F8D69F18-5948-06C2-7297-61778E7B37AD}"/>
          </ac:spMkLst>
        </pc:spChg>
        <pc:spChg chg="add mod">
          <ac:chgData name="Clark, Connie" userId="73351e60-ad32-4085-a232-1d9f9b189479" providerId="ADAL" clId="{5F87A5E2-C2A2-4F23-BC8C-28F7F5EA6CA7}" dt="2024-03-25T03:20:06.739" v="3495" actId="27636"/>
          <ac:spMkLst>
            <pc:docMk/>
            <pc:sldMk cId="3958462050" sldId="2147376790"/>
            <ac:spMk id="31" creationId="{E04710F0-3C7A-29A5-6C53-D174C044B428}"/>
          </ac:spMkLst>
        </pc:spChg>
        <pc:spChg chg="add mod">
          <ac:chgData name="Clark, Connie" userId="73351e60-ad32-4085-a232-1d9f9b189479" providerId="ADAL" clId="{5F87A5E2-C2A2-4F23-BC8C-28F7F5EA6CA7}" dt="2024-03-25T03:20:06.739" v="3495" actId="27636"/>
          <ac:spMkLst>
            <pc:docMk/>
            <pc:sldMk cId="3958462050" sldId="2147376790"/>
            <ac:spMk id="64" creationId="{45286D49-65D6-18A7-EB13-F719A6F95D35}"/>
          </ac:spMkLst>
        </pc:spChg>
        <pc:spChg chg="add mod">
          <ac:chgData name="Clark, Connie" userId="73351e60-ad32-4085-a232-1d9f9b189479" providerId="ADAL" clId="{5F87A5E2-C2A2-4F23-BC8C-28F7F5EA6CA7}" dt="2024-03-25T03:20:06.739" v="3495" actId="27636"/>
          <ac:spMkLst>
            <pc:docMk/>
            <pc:sldMk cId="3958462050" sldId="2147376790"/>
            <ac:spMk id="65" creationId="{AF9ADDA3-F308-D994-2BF7-32CD4EEDEF28}"/>
          </ac:spMkLst>
        </pc:spChg>
        <pc:spChg chg="add mod">
          <ac:chgData name="Clark, Connie" userId="73351e60-ad32-4085-a232-1d9f9b189479" providerId="ADAL" clId="{5F87A5E2-C2A2-4F23-BC8C-28F7F5EA6CA7}" dt="2024-03-25T03:20:06.739" v="3495" actId="27636"/>
          <ac:spMkLst>
            <pc:docMk/>
            <pc:sldMk cId="3958462050" sldId="2147376790"/>
            <ac:spMk id="66" creationId="{4036364E-9906-0DE5-A019-C11061D019FE}"/>
          </ac:spMkLst>
        </pc:spChg>
        <pc:spChg chg="add mod">
          <ac:chgData name="Clark, Connie" userId="73351e60-ad32-4085-a232-1d9f9b189479" providerId="ADAL" clId="{5F87A5E2-C2A2-4F23-BC8C-28F7F5EA6CA7}" dt="2024-03-25T03:20:06.739" v="3495" actId="27636"/>
          <ac:spMkLst>
            <pc:docMk/>
            <pc:sldMk cId="3958462050" sldId="2147376790"/>
            <ac:spMk id="67" creationId="{8D1C311A-C1B0-C876-4D6C-CA51DAECDFAE}"/>
          </ac:spMkLst>
        </pc:spChg>
        <pc:spChg chg="add mod">
          <ac:chgData name="Clark, Connie" userId="73351e60-ad32-4085-a232-1d9f9b189479" providerId="ADAL" clId="{5F87A5E2-C2A2-4F23-BC8C-28F7F5EA6CA7}" dt="2024-03-25T03:20:06.739" v="3495" actId="27636"/>
          <ac:spMkLst>
            <pc:docMk/>
            <pc:sldMk cId="3958462050" sldId="2147376790"/>
            <ac:spMk id="68" creationId="{68E5F997-8215-EF18-C04D-5289269C9765}"/>
          </ac:spMkLst>
        </pc:spChg>
        <pc:spChg chg="add mod">
          <ac:chgData name="Clark, Connie" userId="73351e60-ad32-4085-a232-1d9f9b189479" providerId="ADAL" clId="{5F87A5E2-C2A2-4F23-BC8C-28F7F5EA6CA7}" dt="2024-03-25T03:20:06.739" v="3495" actId="27636"/>
          <ac:spMkLst>
            <pc:docMk/>
            <pc:sldMk cId="3958462050" sldId="2147376790"/>
            <ac:spMk id="77" creationId="{D67F5A2F-4897-0B0B-804F-E09D0FC33D68}"/>
          </ac:spMkLst>
        </pc:spChg>
        <pc:spChg chg="add mod">
          <ac:chgData name="Clark, Connie" userId="73351e60-ad32-4085-a232-1d9f9b189479" providerId="ADAL" clId="{5F87A5E2-C2A2-4F23-BC8C-28F7F5EA6CA7}" dt="2024-03-25T03:20:06.739" v="3495" actId="27636"/>
          <ac:spMkLst>
            <pc:docMk/>
            <pc:sldMk cId="3958462050" sldId="2147376790"/>
            <ac:spMk id="78" creationId="{30B55578-0BEC-C027-C586-29451171FAC3}"/>
          </ac:spMkLst>
        </pc:spChg>
        <pc:spChg chg="add mod">
          <ac:chgData name="Clark, Connie" userId="73351e60-ad32-4085-a232-1d9f9b189479" providerId="ADAL" clId="{5F87A5E2-C2A2-4F23-BC8C-28F7F5EA6CA7}" dt="2024-03-25T03:20:06.739" v="3495" actId="27636"/>
          <ac:spMkLst>
            <pc:docMk/>
            <pc:sldMk cId="3958462050" sldId="2147376790"/>
            <ac:spMk id="79" creationId="{1DED7E92-93CC-8853-26B1-51BAE50B7922}"/>
          </ac:spMkLst>
        </pc:spChg>
        <pc:spChg chg="add mod">
          <ac:chgData name="Clark, Connie" userId="73351e60-ad32-4085-a232-1d9f9b189479" providerId="ADAL" clId="{5F87A5E2-C2A2-4F23-BC8C-28F7F5EA6CA7}" dt="2024-03-25T03:20:06.739" v="3495" actId="27636"/>
          <ac:spMkLst>
            <pc:docMk/>
            <pc:sldMk cId="3958462050" sldId="2147376790"/>
            <ac:spMk id="80" creationId="{98A6142B-1277-F3AB-D40D-D4AF071D5545}"/>
          </ac:spMkLst>
        </pc:spChg>
        <pc:spChg chg="add mod">
          <ac:chgData name="Clark, Connie" userId="73351e60-ad32-4085-a232-1d9f9b189479" providerId="ADAL" clId="{5F87A5E2-C2A2-4F23-BC8C-28F7F5EA6CA7}" dt="2024-03-25T03:20:06.739" v="3495" actId="27636"/>
          <ac:spMkLst>
            <pc:docMk/>
            <pc:sldMk cId="3958462050" sldId="2147376790"/>
            <ac:spMk id="81" creationId="{5AFDA5B0-7B71-9542-EDB6-86ED7D2AB23B}"/>
          </ac:spMkLst>
        </pc:spChg>
        <pc:spChg chg="add mod">
          <ac:chgData name="Clark, Connie" userId="73351e60-ad32-4085-a232-1d9f9b189479" providerId="ADAL" clId="{5F87A5E2-C2A2-4F23-BC8C-28F7F5EA6CA7}" dt="2024-03-25T03:20:06.739" v="3495" actId="27636"/>
          <ac:spMkLst>
            <pc:docMk/>
            <pc:sldMk cId="3958462050" sldId="2147376790"/>
            <ac:spMk id="82" creationId="{0917417E-2117-C78C-BBC5-D573A05D7007}"/>
          </ac:spMkLst>
        </pc:spChg>
        <pc:spChg chg="del">
          <ac:chgData name="Clark, Connie" userId="73351e60-ad32-4085-a232-1d9f9b189479" providerId="ADAL" clId="{5F87A5E2-C2A2-4F23-BC8C-28F7F5EA6CA7}" dt="2024-03-25T03:17:49.582" v="3478" actId="478"/>
          <ac:spMkLst>
            <pc:docMk/>
            <pc:sldMk cId="3958462050" sldId="2147376790"/>
            <ac:spMk id="85" creationId="{1CFFAF8D-67F2-DF15-F82F-870FA99E3431}"/>
          </ac:spMkLst>
        </pc:spChg>
        <pc:spChg chg="del">
          <ac:chgData name="Clark, Connie" userId="73351e60-ad32-4085-a232-1d9f9b189479" providerId="ADAL" clId="{5F87A5E2-C2A2-4F23-BC8C-28F7F5EA6CA7}" dt="2024-03-25T03:17:49.582" v="3478" actId="478"/>
          <ac:spMkLst>
            <pc:docMk/>
            <pc:sldMk cId="3958462050" sldId="2147376790"/>
            <ac:spMk id="86" creationId="{B02BF1D3-E738-C943-5EE9-A726C31F8940}"/>
          </ac:spMkLst>
        </pc:spChg>
        <pc:spChg chg="del">
          <ac:chgData name="Clark, Connie" userId="73351e60-ad32-4085-a232-1d9f9b189479" providerId="ADAL" clId="{5F87A5E2-C2A2-4F23-BC8C-28F7F5EA6CA7}" dt="2024-03-25T03:17:49.582" v="3478" actId="478"/>
          <ac:spMkLst>
            <pc:docMk/>
            <pc:sldMk cId="3958462050" sldId="2147376790"/>
            <ac:spMk id="87" creationId="{48409EDB-6031-5382-6A9D-6B2745D8F10D}"/>
          </ac:spMkLst>
        </pc:spChg>
        <pc:spChg chg="del">
          <ac:chgData name="Clark, Connie" userId="73351e60-ad32-4085-a232-1d9f9b189479" providerId="ADAL" clId="{5F87A5E2-C2A2-4F23-BC8C-28F7F5EA6CA7}" dt="2024-03-25T03:17:49.582" v="3478" actId="478"/>
          <ac:spMkLst>
            <pc:docMk/>
            <pc:sldMk cId="3958462050" sldId="2147376790"/>
            <ac:spMk id="88" creationId="{88A3E0C2-FE66-0248-E11A-16E9E713A66F}"/>
          </ac:spMkLst>
        </pc:spChg>
        <pc:spChg chg="del">
          <ac:chgData name="Clark, Connie" userId="73351e60-ad32-4085-a232-1d9f9b189479" providerId="ADAL" clId="{5F87A5E2-C2A2-4F23-BC8C-28F7F5EA6CA7}" dt="2024-03-25T03:17:49.582" v="3478" actId="478"/>
          <ac:spMkLst>
            <pc:docMk/>
            <pc:sldMk cId="3958462050" sldId="2147376790"/>
            <ac:spMk id="89" creationId="{2FF838F0-C393-9F9E-6434-F898B9179A9E}"/>
          </ac:spMkLst>
        </pc:spChg>
        <pc:spChg chg="del">
          <ac:chgData name="Clark, Connie" userId="73351e60-ad32-4085-a232-1d9f9b189479" providerId="ADAL" clId="{5F87A5E2-C2A2-4F23-BC8C-28F7F5EA6CA7}" dt="2024-03-25T03:17:49.582" v="3478" actId="478"/>
          <ac:spMkLst>
            <pc:docMk/>
            <pc:sldMk cId="3958462050" sldId="2147376790"/>
            <ac:spMk id="90" creationId="{1F09CF1B-827A-3454-3D42-08EA5AB69F1E}"/>
          </ac:spMkLst>
        </pc:spChg>
        <pc:spChg chg="del">
          <ac:chgData name="Clark, Connie" userId="73351e60-ad32-4085-a232-1d9f9b189479" providerId="ADAL" clId="{5F87A5E2-C2A2-4F23-BC8C-28F7F5EA6CA7}" dt="2024-03-25T03:17:49.582" v="3478" actId="478"/>
          <ac:spMkLst>
            <pc:docMk/>
            <pc:sldMk cId="3958462050" sldId="2147376790"/>
            <ac:spMk id="91" creationId="{D004112F-3178-7999-01BE-58FAA3FBFBA2}"/>
          </ac:spMkLst>
        </pc:spChg>
        <pc:spChg chg="del">
          <ac:chgData name="Clark, Connie" userId="73351e60-ad32-4085-a232-1d9f9b189479" providerId="ADAL" clId="{5F87A5E2-C2A2-4F23-BC8C-28F7F5EA6CA7}" dt="2024-03-25T03:17:49.582" v="3478" actId="478"/>
          <ac:spMkLst>
            <pc:docMk/>
            <pc:sldMk cId="3958462050" sldId="2147376790"/>
            <ac:spMk id="93" creationId="{1340A11F-E13A-8CC0-624F-F99E8B7E8A53}"/>
          </ac:spMkLst>
        </pc:spChg>
        <pc:spChg chg="del">
          <ac:chgData name="Clark, Connie" userId="73351e60-ad32-4085-a232-1d9f9b189479" providerId="ADAL" clId="{5F87A5E2-C2A2-4F23-BC8C-28F7F5EA6CA7}" dt="2024-03-25T03:17:49.582" v="3478" actId="478"/>
          <ac:spMkLst>
            <pc:docMk/>
            <pc:sldMk cId="3958462050" sldId="2147376790"/>
            <ac:spMk id="99" creationId="{12396BF8-2AD2-4EC9-A7E5-5F12A155E600}"/>
          </ac:spMkLst>
        </pc:spChg>
        <pc:spChg chg="del">
          <ac:chgData name="Clark, Connie" userId="73351e60-ad32-4085-a232-1d9f9b189479" providerId="ADAL" clId="{5F87A5E2-C2A2-4F23-BC8C-28F7F5EA6CA7}" dt="2024-03-25T03:17:49.582" v="3478" actId="478"/>
          <ac:spMkLst>
            <pc:docMk/>
            <pc:sldMk cId="3958462050" sldId="2147376790"/>
            <ac:spMk id="100" creationId="{7D5168EF-ADE6-6BE0-0C88-F9ACA3EA8F68}"/>
          </ac:spMkLst>
        </pc:spChg>
        <pc:spChg chg="del">
          <ac:chgData name="Clark, Connie" userId="73351e60-ad32-4085-a232-1d9f9b189479" providerId="ADAL" clId="{5F87A5E2-C2A2-4F23-BC8C-28F7F5EA6CA7}" dt="2024-03-25T03:17:49.582" v="3478" actId="478"/>
          <ac:spMkLst>
            <pc:docMk/>
            <pc:sldMk cId="3958462050" sldId="2147376790"/>
            <ac:spMk id="101" creationId="{DAF0725E-6E91-67CD-6C77-3E750B0F7390}"/>
          </ac:spMkLst>
        </pc:spChg>
        <pc:spChg chg="del">
          <ac:chgData name="Clark, Connie" userId="73351e60-ad32-4085-a232-1d9f9b189479" providerId="ADAL" clId="{5F87A5E2-C2A2-4F23-BC8C-28F7F5EA6CA7}" dt="2024-03-25T03:17:49.582" v="3478" actId="478"/>
          <ac:spMkLst>
            <pc:docMk/>
            <pc:sldMk cId="3958462050" sldId="2147376790"/>
            <ac:spMk id="102" creationId="{5E0F7BF7-BA5F-EACD-EC97-6458A9FA7BAA}"/>
          </ac:spMkLst>
        </pc:spChg>
        <pc:spChg chg="del">
          <ac:chgData name="Clark, Connie" userId="73351e60-ad32-4085-a232-1d9f9b189479" providerId="ADAL" clId="{5F87A5E2-C2A2-4F23-BC8C-28F7F5EA6CA7}" dt="2024-03-25T03:17:49.582" v="3478" actId="478"/>
          <ac:spMkLst>
            <pc:docMk/>
            <pc:sldMk cId="3958462050" sldId="2147376790"/>
            <ac:spMk id="103" creationId="{389392DC-E912-053F-CCC7-8472FE8566B5}"/>
          </ac:spMkLst>
        </pc:spChg>
        <pc:spChg chg="del">
          <ac:chgData name="Clark, Connie" userId="73351e60-ad32-4085-a232-1d9f9b189479" providerId="ADAL" clId="{5F87A5E2-C2A2-4F23-BC8C-28F7F5EA6CA7}" dt="2024-03-25T03:17:49.582" v="3478" actId="478"/>
          <ac:spMkLst>
            <pc:docMk/>
            <pc:sldMk cId="3958462050" sldId="2147376790"/>
            <ac:spMk id="104" creationId="{B9DBBF45-9B29-998D-EEAF-A3E5CD5F5413}"/>
          </ac:spMkLst>
        </pc:spChg>
        <pc:spChg chg="del">
          <ac:chgData name="Clark, Connie" userId="73351e60-ad32-4085-a232-1d9f9b189479" providerId="ADAL" clId="{5F87A5E2-C2A2-4F23-BC8C-28F7F5EA6CA7}" dt="2024-03-25T03:17:49.582" v="3478" actId="478"/>
          <ac:spMkLst>
            <pc:docMk/>
            <pc:sldMk cId="3958462050" sldId="2147376790"/>
            <ac:spMk id="105" creationId="{8F8D0633-26A0-BD1D-CDB5-9DDF3C418DD8}"/>
          </ac:spMkLst>
        </pc:spChg>
        <pc:spChg chg="del">
          <ac:chgData name="Clark, Connie" userId="73351e60-ad32-4085-a232-1d9f9b189479" providerId="ADAL" clId="{5F87A5E2-C2A2-4F23-BC8C-28F7F5EA6CA7}" dt="2024-03-25T03:17:49.582" v="3478" actId="478"/>
          <ac:spMkLst>
            <pc:docMk/>
            <pc:sldMk cId="3958462050" sldId="2147376790"/>
            <ac:spMk id="106" creationId="{061C84DF-D61D-903C-F8BF-64C60903EA13}"/>
          </ac:spMkLst>
        </pc:spChg>
        <pc:spChg chg="del">
          <ac:chgData name="Clark, Connie" userId="73351e60-ad32-4085-a232-1d9f9b189479" providerId="ADAL" clId="{5F87A5E2-C2A2-4F23-BC8C-28F7F5EA6CA7}" dt="2024-03-25T03:17:49.582" v="3478" actId="478"/>
          <ac:spMkLst>
            <pc:docMk/>
            <pc:sldMk cId="3958462050" sldId="2147376790"/>
            <ac:spMk id="107" creationId="{BD64F859-C9E8-FB49-4455-409CB227200E}"/>
          </ac:spMkLst>
        </pc:spChg>
        <pc:spChg chg="del">
          <ac:chgData name="Clark, Connie" userId="73351e60-ad32-4085-a232-1d9f9b189479" providerId="ADAL" clId="{5F87A5E2-C2A2-4F23-BC8C-28F7F5EA6CA7}" dt="2024-03-25T03:17:49.582" v="3478" actId="478"/>
          <ac:spMkLst>
            <pc:docMk/>
            <pc:sldMk cId="3958462050" sldId="2147376790"/>
            <ac:spMk id="108" creationId="{FFFDC234-9D05-3B23-862A-D89D0F4D2498}"/>
          </ac:spMkLst>
        </pc:spChg>
        <pc:spChg chg="del">
          <ac:chgData name="Clark, Connie" userId="73351e60-ad32-4085-a232-1d9f9b189479" providerId="ADAL" clId="{5F87A5E2-C2A2-4F23-BC8C-28F7F5EA6CA7}" dt="2024-03-25T03:17:49.582" v="3478" actId="478"/>
          <ac:spMkLst>
            <pc:docMk/>
            <pc:sldMk cId="3958462050" sldId="2147376790"/>
            <ac:spMk id="113" creationId="{A5115668-4E9D-4999-D9CE-1B1A371E4021}"/>
          </ac:spMkLst>
        </pc:spChg>
        <pc:spChg chg="del">
          <ac:chgData name="Clark, Connie" userId="73351e60-ad32-4085-a232-1d9f9b189479" providerId="ADAL" clId="{5F87A5E2-C2A2-4F23-BC8C-28F7F5EA6CA7}" dt="2024-03-25T03:17:49.582" v="3478" actId="478"/>
          <ac:spMkLst>
            <pc:docMk/>
            <pc:sldMk cId="3958462050" sldId="2147376790"/>
            <ac:spMk id="114" creationId="{B6C82F5B-E655-2D81-7769-9F48A46C1EC0}"/>
          </ac:spMkLst>
        </pc:spChg>
        <pc:spChg chg="del">
          <ac:chgData name="Clark, Connie" userId="73351e60-ad32-4085-a232-1d9f9b189479" providerId="ADAL" clId="{5F87A5E2-C2A2-4F23-BC8C-28F7F5EA6CA7}" dt="2024-03-25T03:17:49.582" v="3478" actId="478"/>
          <ac:spMkLst>
            <pc:docMk/>
            <pc:sldMk cId="3958462050" sldId="2147376790"/>
            <ac:spMk id="123" creationId="{90E3E005-3FB8-8148-9A72-014011CDF181}"/>
          </ac:spMkLst>
        </pc:spChg>
        <pc:spChg chg="del">
          <ac:chgData name="Clark, Connie" userId="73351e60-ad32-4085-a232-1d9f9b189479" providerId="ADAL" clId="{5F87A5E2-C2A2-4F23-BC8C-28F7F5EA6CA7}" dt="2024-03-25T03:17:49.582" v="3478" actId="478"/>
          <ac:spMkLst>
            <pc:docMk/>
            <pc:sldMk cId="3958462050" sldId="2147376790"/>
            <ac:spMk id="124" creationId="{4075E8B1-49FC-3AF8-E84E-015F29C6713F}"/>
          </ac:spMkLst>
        </pc:spChg>
        <pc:spChg chg="del">
          <ac:chgData name="Clark, Connie" userId="73351e60-ad32-4085-a232-1d9f9b189479" providerId="ADAL" clId="{5F87A5E2-C2A2-4F23-BC8C-28F7F5EA6CA7}" dt="2024-03-25T03:17:49.582" v="3478" actId="478"/>
          <ac:spMkLst>
            <pc:docMk/>
            <pc:sldMk cId="3958462050" sldId="2147376790"/>
            <ac:spMk id="125" creationId="{FA6CCBB3-FD21-9FCD-FEDF-11D2F765E76F}"/>
          </ac:spMkLst>
        </pc:spChg>
        <pc:spChg chg="del">
          <ac:chgData name="Clark, Connie" userId="73351e60-ad32-4085-a232-1d9f9b189479" providerId="ADAL" clId="{5F87A5E2-C2A2-4F23-BC8C-28F7F5EA6CA7}" dt="2024-03-25T03:17:49.582" v="3478" actId="478"/>
          <ac:spMkLst>
            <pc:docMk/>
            <pc:sldMk cId="3958462050" sldId="2147376790"/>
            <ac:spMk id="126" creationId="{D96BE001-6396-B631-1018-85B3BC6A1E56}"/>
          </ac:spMkLst>
        </pc:spChg>
        <pc:spChg chg="del">
          <ac:chgData name="Clark, Connie" userId="73351e60-ad32-4085-a232-1d9f9b189479" providerId="ADAL" clId="{5F87A5E2-C2A2-4F23-BC8C-28F7F5EA6CA7}" dt="2024-03-25T03:17:49.582" v="3478" actId="478"/>
          <ac:spMkLst>
            <pc:docMk/>
            <pc:sldMk cId="3958462050" sldId="2147376790"/>
            <ac:spMk id="127" creationId="{71043FD1-B956-AB46-1ED6-1E17F0E92DFC}"/>
          </ac:spMkLst>
        </pc:spChg>
        <pc:spChg chg="del">
          <ac:chgData name="Clark, Connie" userId="73351e60-ad32-4085-a232-1d9f9b189479" providerId="ADAL" clId="{5F87A5E2-C2A2-4F23-BC8C-28F7F5EA6CA7}" dt="2024-03-25T03:17:49.582" v="3478" actId="478"/>
          <ac:spMkLst>
            <pc:docMk/>
            <pc:sldMk cId="3958462050" sldId="2147376790"/>
            <ac:spMk id="128" creationId="{A5FEA061-87E5-0826-984B-621F3E972534}"/>
          </ac:spMkLst>
        </pc:spChg>
        <pc:spChg chg="del">
          <ac:chgData name="Clark, Connie" userId="73351e60-ad32-4085-a232-1d9f9b189479" providerId="ADAL" clId="{5F87A5E2-C2A2-4F23-BC8C-28F7F5EA6CA7}" dt="2024-03-25T03:17:49.582" v="3478" actId="478"/>
          <ac:spMkLst>
            <pc:docMk/>
            <pc:sldMk cId="3958462050" sldId="2147376790"/>
            <ac:spMk id="129" creationId="{41ADCCF3-89DD-D44A-D4CD-AD8023402933}"/>
          </ac:spMkLst>
        </pc:spChg>
        <pc:spChg chg="del">
          <ac:chgData name="Clark, Connie" userId="73351e60-ad32-4085-a232-1d9f9b189479" providerId="ADAL" clId="{5F87A5E2-C2A2-4F23-BC8C-28F7F5EA6CA7}" dt="2024-03-25T03:17:49.582" v="3478" actId="478"/>
          <ac:spMkLst>
            <pc:docMk/>
            <pc:sldMk cId="3958462050" sldId="2147376790"/>
            <ac:spMk id="130" creationId="{30F32150-0615-06F3-B76F-0C0D37BDED49}"/>
          </ac:spMkLst>
        </pc:spChg>
        <pc:spChg chg="del">
          <ac:chgData name="Clark, Connie" userId="73351e60-ad32-4085-a232-1d9f9b189479" providerId="ADAL" clId="{5F87A5E2-C2A2-4F23-BC8C-28F7F5EA6CA7}" dt="2024-03-25T03:17:49.582" v="3478" actId="478"/>
          <ac:spMkLst>
            <pc:docMk/>
            <pc:sldMk cId="3958462050" sldId="2147376790"/>
            <ac:spMk id="131" creationId="{EE28AADF-235A-B25A-9BF3-CC6A15D204AA}"/>
          </ac:spMkLst>
        </pc:spChg>
        <pc:spChg chg="del">
          <ac:chgData name="Clark, Connie" userId="73351e60-ad32-4085-a232-1d9f9b189479" providerId="ADAL" clId="{5F87A5E2-C2A2-4F23-BC8C-28F7F5EA6CA7}" dt="2024-03-25T03:17:49.582" v="3478" actId="478"/>
          <ac:spMkLst>
            <pc:docMk/>
            <pc:sldMk cId="3958462050" sldId="2147376790"/>
            <ac:spMk id="132" creationId="{A3719DA0-2D5A-2B55-949D-BCAFDB241E2F}"/>
          </ac:spMkLst>
        </pc:spChg>
        <pc:spChg chg="del">
          <ac:chgData name="Clark, Connie" userId="73351e60-ad32-4085-a232-1d9f9b189479" providerId="ADAL" clId="{5F87A5E2-C2A2-4F23-BC8C-28F7F5EA6CA7}" dt="2024-03-25T03:17:49.582" v="3478" actId="478"/>
          <ac:spMkLst>
            <pc:docMk/>
            <pc:sldMk cId="3958462050" sldId="2147376790"/>
            <ac:spMk id="133" creationId="{D6D37596-4256-6D84-8678-4045124E0976}"/>
          </ac:spMkLst>
        </pc:spChg>
        <pc:spChg chg="del">
          <ac:chgData name="Clark, Connie" userId="73351e60-ad32-4085-a232-1d9f9b189479" providerId="ADAL" clId="{5F87A5E2-C2A2-4F23-BC8C-28F7F5EA6CA7}" dt="2024-03-25T03:17:49.582" v="3478" actId="478"/>
          <ac:spMkLst>
            <pc:docMk/>
            <pc:sldMk cId="3958462050" sldId="2147376790"/>
            <ac:spMk id="134" creationId="{B1933A00-0A48-C6ED-8E8E-88F242DB9F12}"/>
          </ac:spMkLst>
        </pc:spChg>
        <pc:spChg chg="del">
          <ac:chgData name="Clark, Connie" userId="73351e60-ad32-4085-a232-1d9f9b189479" providerId="ADAL" clId="{5F87A5E2-C2A2-4F23-BC8C-28F7F5EA6CA7}" dt="2024-03-25T03:17:49.582" v="3478" actId="478"/>
          <ac:spMkLst>
            <pc:docMk/>
            <pc:sldMk cId="3958462050" sldId="2147376790"/>
            <ac:spMk id="135" creationId="{B39499A8-FF3F-53B4-6BB5-17571D585BC8}"/>
          </ac:spMkLst>
        </pc:spChg>
        <pc:spChg chg="del">
          <ac:chgData name="Clark, Connie" userId="73351e60-ad32-4085-a232-1d9f9b189479" providerId="ADAL" clId="{5F87A5E2-C2A2-4F23-BC8C-28F7F5EA6CA7}" dt="2024-03-25T03:17:49.582" v="3478" actId="478"/>
          <ac:spMkLst>
            <pc:docMk/>
            <pc:sldMk cId="3958462050" sldId="2147376790"/>
            <ac:spMk id="136" creationId="{17C6E940-6F41-5862-A818-030385902E23}"/>
          </ac:spMkLst>
        </pc:spChg>
        <pc:spChg chg="del">
          <ac:chgData name="Clark, Connie" userId="73351e60-ad32-4085-a232-1d9f9b189479" providerId="ADAL" clId="{5F87A5E2-C2A2-4F23-BC8C-28F7F5EA6CA7}" dt="2024-03-25T03:18:48.880" v="3479" actId="478"/>
          <ac:spMkLst>
            <pc:docMk/>
            <pc:sldMk cId="3958462050" sldId="2147376790"/>
            <ac:spMk id="138" creationId="{3DD602FD-A3B1-4A21-538B-BBF12A8D1693}"/>
          </ac:spMkLst>
        </pc:spChg>
        <pc:spChg chg="del">
          <ac:chgData name="Clark, Connie" userId="73351e60-ad32-4085-a232-1d9f9b189479" providerId="ADAL" clId="{5F87A5E2-C2A2-4F23-BC8C-28F7F5EA6CA7}" dt="2024-03-25T03:17:49.582" v="3478" actId="478"/>
          <ac:spMkLst>
            <pc:docMk/>
            <pc:sldMk cId="3958462050" sldId="2147376790"/>
            <ac:spMk id="139" creationId="{6FD6685D-4203-7D03-DAEC-CE9CBA1E0A5F}"/>
          </ac:spMkLst>
        </pc:spChg>
        <pc:spChg chg="del">
          <ac:chgData name="Clark, Connie" userId="73351e60-ad32-4085-a232-1d9f9b189479" providerId="ADAL" clId="{5F87A5E2-C2A2-4F23-BC8C-28F7F5EA6CA7}" dt="2024-03-25T03:17:49.582" v="3478" actId="478"/>
          <ac:spMkLst>
            <pc:docMk/>
            <pc:sldMk cId="3958462050" sldId="2147376790"/>
            <ac:spMk id="140" creationId="{793A8C67-03F3-B049-66B8-C30C1FD3629F}"/>
          </ac:spMkLst>
        </pc:spChg>
        <pc:spChg chg="del">
          <ac:chgData name="Clark, Connie" userId="73351e60-ad32-4085-a232-1d9f9b189479" providerId="ADAL" clId="{5F87A5E2-C2A2-4F23-BC8C-28F7F5EA6CA7}" dt="2024-03-25T03:17:49.582" v="3478" actId="478"/>
          <ac:spMkLst>
            <pc:docMk/>
            <pc:sldMk cId="3958462050" sldId="2147376790"/>
            <ac:spMk id="142" creationId="{71E8D36D-5D8F-A85E-6C55-B3CD86A79A91}"/>
          </ac:spMkLst>
        </pc:spChg>
        <pc:spChg chg="del">
          <ac:chgData name="Clark, Connie" userId="73351e60-ad32-4085-a232-1d9f9b189479" providerId="ADAL" clId="{5F87A5E2-C2A2-4F23-BC8C-28F7F5EA6CA7}" dt="2024-03-25T03:17:49.582" v="3478" actId="478"/>
          <ac:spMkLst>
            <pc:docMk/>
            <pc:sldMk cId="3958462050" sldId="2147376790"/>
            <ac:spMk id="143" creationId="{8EBFEE5D-04BF-7AA8-22F2-203C0F190942}"/>
          </ac:spMkLst>
        </pc:spChg>
        <pc:spChg chg="del">
          <ac:chgData name="Clark, Connie" userId="73351e60-ad32-4085-a232-1d9f9b189479" providerId="ADAL" clId="{5F87A5E2-C2A2-4F23-BC8C-28F7F5EA6CA7}" dt="2024-03-25T03:17:49.582" v="3478" actId="478"/>
          <ac:spMkLst>
            <pc:docMk/>
            <pc:sldMk cId="3958462050" sldId="2147376790"/>
            <ac:spMk id="147" creationId="{73372E18-42B4-C4AF-F036-ED93EF904F85}"/>
          </ac:spMkLst>
        </pc:spChg>
        <pc:spChg chg="del">
          <ac:chgData name="Clark, Connie" userId="73351e60-ad32-4085-a232-1d9f9b189479" providerId="ADAL" clId="{5F87A5E2-C2A2-4F23-BC8C-28F7F5EA6CA7}" dt="2024-03-25T03:17:49.582" v="3478" actId="478"/>
          <ac:spMkLst>
            <pc:docMk/>
            <pc:sldMk cId="3958462050" sldId="2147376790"/>
            <ac:spMk id="148" creationId="{3AA418C2-4437-57D0-7340-C11112637033}"/>
          </ac:spMkLst>
        </pc:spChg>
        <pc:spChg chg="del">
          <ac:chgData name="Clark, Connie" userId="73351e60-ad32-4085-a232-1d9f9b189479" providerId="ADAL" clId="{5F87A5E2-C2A2-4F23-BC8C-28F7F5EA6CA7}" dt="2024-03-25T03:17:49.582" v="3478" actId="478"/>
          <ac:spMkLst>
            <pc:docMk/>
            <pc:sldMk cId="3958462050" sldId="2147376790"/>
            <ac:spMk id="150" creationId="{DC02DC64-44E5-23E2-312B-F780523F138F}"/>
          </ac:spMkLst>
        </pc:spChg>
        <pc:spChg chg="del">
          <ac:chgData name="Clark, Connie" userId="73351e60-ad32-4085-a232-1d9f9b189479" providerId="ADAL" clId="{5F87A5E2-C2A2-4F23-BC8C-28F7F5EA6CA7}" dt="2024-03-25T03:17:49.582" v="3478" actId="478"/>
          <ac:spMkLst>
            <pc:docMk/>
            <pc:sldMk cId="3958462050" sldId="2147376790"/>
            <ac:spMk id="153" creationId="{A5D84D0A-55B5-84F4-4CEC-FAC3896098C5}"/>
          </ac:spMkLst>
        </pc:spChg>
        <pc:spChg chg="del">
          <ac:chgData name="Clark, Connie" userId="73351e60-ad32-4085-a232-1d9f9b189479" providerId="ADAL" clId="{5F87A5E2-C2A2-4F23-BC8C-28F7F5EA6CA7}" dt="2024-03-25T03:17:49.582" v="3478" actId="478"/>
          <ac:spMkLst>
            <pc:docMk/>
            <pc:sldMk cId="3958462050" sldId="2147376790"/>
            <ac:spMk id="159" creationId="{CAD2F19B-3B73-081A-2020-15F2F4CF4636}"/>
          </ac:spMkLst>
        </pc:spChg>
        <pc:spChg chg="del">
          <ac:chgData name="Clark, Connie" userId="73351e60-ad32-4085-a232-1d9f9b189479" providerId="ADAL" clId="{5F87A5E2-C2A2-4F23-BC8C-28F7F5EA6CA7}" dt="2024-03-25T03:17:49.582" v="3478" actId="478"/>
          <ac:spMkLst>
            <pc:docMk/>
            <pc:sldMk cId="3958462050" sldId="2147376790"/>
            <ac:spMk id="160" creationId="{3025646D-C33F-17EB-BB86-8E677B1AF685}"/>
          </ac:spMkLst>
        </pc:spChg>
        <pc:spChg chg="del">
          <ac:chgData name="Clark, Connie" userId="73351e60-ad32-4085-a232-1d9f9b189479" providerId="ADAL" clId="{5F87A5E2-C2A2-4F23-BC8C-28F7F5EA6CA7}" dt="2024-03-25T03:17:49.582" v="3478" actId="478"/>
          <ac:spMkLst>
            <pc:docMk/>
            <pc:sldMk cId="3958462050" sldId="2147376790"/>
            <ac:spMk id="162" creationId="{6D947AB7-1774-262F-D522-0BE897BBC2DF}"/>
          </ac:spMkLst>
        </pc:spChg>
        <pc:spChg chg="mod">
          <ac:chgData name="Clark, Connie" userId="73351e60-ad32-4085-a232-1d9f9b189479" providerId="ADAL" clId="{5F87A5E2-C2A2-4F23-BC8C-28F7F5EA6CA7}" dt="2024-03-25T03:22:14.334" v="3521"/>
          <ac:spMkLst>
            <pc:docMk/>
            <pc:sldMk cId="3958462050" sldId="2147376790"/>
            <ac:spMk id="176" creationId="{7904F9E7-6A77-80B1-9CDB-2717F95B7975}"/>
          </ac:spMkLst>
        </pc:spChg>
        <pc:spChg chg="del mod">
          <ac:chgData name="Clark, Connie" userId="73351e60-ad32-4085-a232-1d9f9b189479" providerId="ADAL" clId="{5F87A5E2-C2A2-4F23-BC8C-28F7F5EA6CA7}" dt="2024-03-25T03:20:34.988" v="3499" actId="478"/>
          <ac:spMkLst>
            <pc:docMk/>
            <pc:sldMk cId="3958462050" sldId="2147376790"/>
            <ac:spMk id="177" creationId="{17B6D0C4-6F94-BA62-2289-990E84E4C233}"/>
          </ac:spMkLst>
        </pc:spChg>
        <pc:graphicFrameChg chg="add del mod">
          <ac:chgData name="Clark, Connie" userId="73351e60-ad32-4085-a232-1d9f9b189479" providerId="ADAL" clId="{5F87A5E2-C2A2-4F23-BC8C-28F7F5EA6CA7}" dt="2024-03-25T03:20:06.185" v="3493"/>
          <ac:graphicFrameMkLst>
            <pc:docMk/>
            <pc:sldMk cId="3958462050" sldId="2147376790"/>
            <ac:graphicFrameMk id="5" creationId="{595810F4-4E6C-B1E8-BD1E-611DF2E0B573}"/>
          </ac:graphicFrameMkLst>
        </pc:graphicFrameChg>
        <pc:graphicFrameChg chg="add mod">
          <ac:chgData name="Clark, Connie" userId="73351e60-ad32-4085-a232-1d9f9b189479" providerId="ADAL" clId="{5F87A5E2-C2A2-4F23-BC8C-28F7F5EA6CA7}" dt="2024-03-25T03:20:06.739" v="3495" actId="27636"/>
          <ac:graphicFrameMkLst>
            <pc:docMk/>
            <pc:sldMk cId="3958462050" sldId="2147376790"/>
            <ac:graphicFrameMk id="29" creationId="{6967282F-8119-9F22-AFA7-8CA40C99AB66}"/>
          </ac:graphicFrameMkLst>
        </pc:graphicFrameChg>
        <pc:cxnChg chg="add del mod">
          <ac:chgData name="Clark, Connie" userId="73351e60-ad32-4085-a232-1d9f9b189479" providerId="ADAL" clId="{5F87A5E2-C2A2-4F23-BC8C-28F7F5EA6CA7}" dt="2024-03-25T03:20:06.185" v="3493"/>
          <ac:cxnSpMkLst>
            <pc:docMk/>
            <pc:sldMk cId="3958462050" sldId="2147376790"/>
            <ac:cxnSpMk id="14" creationId="{89814183-B5E7-C6E7-1F5F-341FD038D551}"/>
          </ac:cxnSpMkLst>
        </pc:cxnChg>
        <pc:cxnChg chg="add del mod">
          <ac:chgData name="Clark, Connie" userId="73351e60-ad32-4085-a232-1d9f9b189479" providerId="ADAL" clId="{5F87A5E2-C2A2-4F23-BC8C-28F7F5EA6CA7}" dt="2024-03-25T03:20:06.185" v="3493"/>
          <ac:cxnSpMkLst>
            <pc:docMk/>
            <pc:sldMk cId="3958462050" sldId="2147376790"/>
            <ac:cxnSpMk id="15" creationId="{D4C32D7F-0480-D267-75A9-13B7F5AAC4C4}"/>
          </ac:cxnSpMkLst>
        </pc:cxnChg>
        <pc:cxnChg chg="add del mod">
          <ac:chgData name="Clark, Connie" userId="73351e60-ad32-4085-a232-1d9f9b189479" providerId="ADAL" clId="{5F87A5E2-C2A2-4F23-BC8C-28F7F5EA6CA7}" dt="2024-03-25T03:20:06.185" v="3493"/>
          <ac:cxnSpMkLst>
            <pc:docMk/>
            <pc:sldMk cId="3958462050" sldId="2147376790"/>
            <ac:cxnSpMk id="16" creationId="{1E3803E9-75DA-5C56-1B6D-4065FFC55C28}"/>
          </ac:cxnSpMkLst>
        </pc:cxnChg>
        <pc:cxnChg chg="add del mod">
          <ac:chgData name="Clark, Connie" userId="73351e60-ad32-4085-a232-1d9f9b189479" providerId="ADAL" clId="{5F87A5E2-C2A2-4F23-BC8C-28F7F5EA6CA7}" dt="2024-03-25T03:20:06.185" v="3493"/>
          <ac:cxnSpMkLst>
            <pc:docMk/>
            <pc:sldMk cId="3958462050" sldId="2147376790"/>
            <ac:cxnSpMk id="17" creationId="{F7DEC27E-BE90-1B95-7F11-867CF70E7E20}"/>
          </ac:cxnSpMkLst>
        </pc:cxnChg>
        <pc:cxnChg chg="add del mod">
          <ac:chgData name="Clark, Connie" userId="73351e60-ad32-4085-a232-1d9f9b189479" providerId="ADAL" clId="{5F87A5E2-C2A2-4F23-BC8C-28F7F5EA6CA7}" dt="2024-03-25T03:20:06.185" v="3493"/>
          <ac:cxnSpMkLst>
            <pc:docMk/>
            <pc:sldMk cId="3958462050" sldId="2147376790"/>
            <ac:cxnSpMk id="18" creationId="{C394E931-CE9F-74C6-C203-4E51B0DCC464}"/>
          </ac:cxnSpMkLst>
        </pc:cxnChg>
        <pc:cxnChg chg="add del mod">
          <ac:chgData name="Clark, Connie" userId="73351e60-ad32-4085-a232-1d9f9b189479" providerId="ADAL" clId="{5F87A5E2-C2A2-4F23-BC8C-28F7F5EA6CA7}" dt="2024-03-25T03:20:06.185" v="3493"/>
          <ac:cxnSpMkLst>
            <pc:docMk/>
            <pc:sldMk cId="3958462050" sldId="2147376790"/>
            <ac:cxnSpMk id="19" creationId="{F5DC4C86-82A4-5115-A471-40BCF8BBC4EE}"/>
          </ac:cxnSpMkLst>
        </pc:cxnChg>
        <pc:cxnChg chg="add del mod">
          <ac:chgData name="Clark, Connie" userId="73351e60-ad32-4085-a232-1d9f9b189479" providerId="ADAL" clId="{5F87A5E2-C2A2-4F23-BC8C-28F7F5EA6CA7}" dt="2024-03-25T03:20:06.185" v="3493"/>
          <ac:cxnSpMkLst>
            <pc:docMk/>
            <pc:sldMk cId="3958462050" sldId="2147376790"/>
            <ac:cxnSpMk id="20" creationId="{7210277F-BED5-66B5-0187-CCFA02A653BB}"/>
          </ac:cxnSpMkLst>
        </pc:cxnChg>
        <pc:cxnChg chg="add del mod">
          <ac:chgData name="Clark, Connie" userId="73351e60-ad32-4085-a232-1d9f9b189479" providerId="ADAL" clId="{5F87A5E2-C2A2-4F23-BC8C-28F7F5EA6CA7}" dt="2024-03-25T03:20:06.185" v="3493"/>
          <ac:cxnSpMkLst>
            <pc:docMk/>
            <pc:sldMk cId="3958462050" sldId="2147376790"/>
            <ac:cxnSpMk id="21" creationId="{8BA93A1A-787B-1AE9-8185-BB4CC688397D}"/>
          </ac:cxnSpMkLst>
        </pc:cxnChg>
        <pc:cxnChg chg="add mod">
          <ac:chgData name="Clark, Connie" userId="73351e60-ad32-4085-a232-1d9f9b189479" providerId="ADAL" clId="{5F87A5E2-C2A2-4F23-BC8C-28F7F5EA6CA7}" dt="2024-03-25T03:20:06.739" v="3495" actId="27636"/>
          <ac:cxnSpMkLst>
            <pc:docMk/>
            <pc:sldMk cId="3958462050" sldId="2147376790"/>
            <ac:cxnSpMk id="69" creationId="{01691E5E-0A77-1C5E-BFD7-AA77B49284CB}"/>
          </ac:cxnSpMkLst>
        </pc:cxnChg>
        <pc:cxnChg chg="add mod">
          <ac:chgData name="Clark, Connie" userId="73351e60-ad32-4085-a232-1d9f9b189479" providerId="ADAL" clId="{5F87A5E2-C2A2-4F23-BC8C-28F7F5EA6CA7}" dt="2024-03-25T03:20:06.739" v="3495" actId="27636"/>
          <ac:cxnSpMkLst>
            <pc:docMk/>
            <pc:sldMk cId="3958462050" sldId="2147376790"/>
            <ac:cxnSpMk id="70" creationId="{29B33DF6-9257-EDC6-07A5-6B475957F951}"/>
          </ac:cxnSpMkLst>
        </pc:cxnChg>
        <pc:cxnChg chg="add mod">
          <ac:chgData name="Clark, Connie" userId="73351e60-ad32-4085-a232-1d9f9b189479" providerId="ADAL" clId="{5F87A5E2-C2A2-4F23-BC8C-28F7F5EA6CA7}" dt="2024-03-25T03:20:06.739" v="3495" actId="27636"/>
          <ac:cxnSpMkLst>
            <pc:docMk/>
            <pc:sldMk cId="3958462050" sldId="2147376790"/>
            <ac:cxnSpMk id="71" creationId="{7BCC3A17-5A4A-5AE8-6060-C432D5867FEB}"/>
          </ac:cxnSpMkLst>
        </pc:cxnChg>
        <pc:cxnChg chg="add mod">
          <ac:chgData name="Clark, Connie" userId="73351e60-ad32-4085-a232-1d9f9b189479" providerId="ADAL" clId="{5F87A5E2-C2A2-4F23-BC8C-28F7F5EA6CA7}" dt="2024-03-25T03:20:06.739" v="3495" actId="27636"/>
          <ac:cxnSpMkLst>
            <pc:docMk/>
            <pc:sldMk cId="3958462050" sldId="2147376790"/>
            <ac:cxnSpMk id="72" creationId="{C57B46C6-7350-D7AB-7DB9-82F7AC585D8A}"/>
          </ac:cxnSpMkLst>
        </pc:cxnChg>
        <pc:cxnChg chg="add mod">
          <ac:chgData name="Clark, Connie" userId="73351e60-ad32-4085-a232-1d9f9b189479" providerId="ADAL" clId="{5F87A5E2-C2A2-4F23-BC8C-28F7F5EA6CA7}" dt="2024-03-25T03:20:06.739" v="3495" actId="27636"/>
          <ac:cxnSpMkLst>
            <pc:docMk/>
            <pc:sldMk cId="3958462050" sldId="2147376790"/>
            <ac:cxnSpMk id="73" creationId="{D917F746-BB35-9174-7341-49490F6AC6B6}"/>
          </ac:cxnSpMkLst>
        </pc:cxnChg>
        <pc:cxnChg chg="add mod">
          <ac:chgData name="Clark, Connie" userId="73351e60-ad32-4085-a232-1d9f9b189479" providerId="ADAL" clId="{5F87A5E2-C2A2-4F23-BC8C-28F7F5EA6CA7}" dt="2024-03-25T03:20:06.739" v="3495" actId="27636"/>
          <ac:cxnSpMkLst>
            <pc:docMk/>
            <pc:sldMk cId="3958462050" sldId="2147376790"/>
            <ac:cxnSpMk id="74" creationId="{836387B4-80C2-DC0E-F1CE-04A598E7761E}"/>
          </ac:cxnSpMkLst>
        </pc:cxnChg>
        <pc:cxnChg chg="add mod">
          <ac:chgData name="Clark, Connie" userId="73351e60-ad32-4085-a232-1d9f9b189479" providerId="ADAL" clId="{5F87A5E2-C2A2-4F23-BC8C-28F7F5EA6CA7}" dt="2024-03-25T03:20:06.739" v="3495" actId="27636"/>
          <ac:cxnSpMkLst>
            <pc:docMk/>
            <pc:sldMk cId="3958462050" sldId="2147376790"/>
            <ac:cxnSpMk id="75" creationId="{6964ACCD-EFF5-7A06-3151-14D76EC626D7}"/>
          </ac:cxnSpMkLst>
        </pc:cxnChg>
        <pc:cxnChg chg="add mod">
          <ac:chgData name="Clark, Connie" userId="73351e60-ad32-4085-a232-1d9f9b189479" providerId="ADAL" clId="{5F87A5E2-C2A2-4F23-BC8C-28F7F5EA6CA7}" dt="2024-03-25T03:20:06.739" v="3495" actId="27636"/>
          <ac:cxnSpMkLst>
            <pc:docMk/>
            <pc:sldMk cId="3958462050" sldId="2147376790"/>
            <ac:cxnSpMk id="76" creationId="{A6161B40-53CE-04EE-0CA5-172E5E5CFBB8}"/>
          </ac:cxnSpMkLst>
        </pc:cxnChg>
        <pc:cxnChg chg="del">
          <ac:chgData name="Clark, Connie" userId="73351e60-ad32-4085-a232-1d9f9b189479" providerId="ADAL" clId="{5F87A5E2-C2A2-4F23-BC8C-28F7F5EA6CA7}" dt="2024-03-25T03:17:49.582" v="3478" actId="478"/>
          <ac:cxnSpMkLst>
            <pc:docMk/>
            <pc:sldMk cId="3958462050" sldId="2147376790"/>
            <ac:cxnSpMk id="92" creationId="{1534CF68-17D8-A7AC-9ECE-794BA285A628}"/>
          </ac:cxnSpMkLst>
        </pc:cxnChg>
        <pc:cxnChg chg="del">
          <ac:chgData name="Clark, Connie" userId="73351e60-ad32-4085-a232-1d9f9b189479" providerId="ADAL" clId="{5F87A5E2-C2A2-4F23-BC8C-28F7F5EA6CA7}" dt="2024-03-25T03:17:49.582" v="3478" actId="478"/>
          <ac:cxnSpMkLst>
            <pc:docMk/>
            <pc:sldMk cId="3958462050" sldId="2147376790"/>
            <ac:cxnSpMk id="94" creationId="{172AB6B9-18F9-A1BC-0FCC-CC99C8AB4734}"/>
          </ac:cxnSpMkLst>
        </pc:cxnChg>
        <pc:cxnChg chg="del">
          <ac:chgData name="Clark, Connie" userId="73351e60-ad32-4085-a232-1d9f9b189479" providerId="ADAL" clId="{5F87A5E2-C2A2-4F23-BC8C-28F7F5EA6CA7}" dt="2024-03-25T03:17:49.582" v="3478" actId="478"/>
          <ac:cxnSpMkLst>
            <pc:docMk/>
            <pc:sldMk cId="3958462050" sldId="2147376790"/>
            <ac:cxnSpMk id="95" creationId="{DE7C84B0-E007-3C4C-DFEA-4CE6CD0BAB83}"/>
          </ac:cxnSpMkLst>
        </pc:cxnChg>
        <pc:cxnChg chg="del">
          <ac:chgData name="Clark, Connie" userId="73351e60-ad32-4085-a232-1d9f9b189479" providerId="ADAL" clId="{5F87A5E2-C2A2-4F23-BC8C-28F7F5EA6CA7}" dt="2024-03-25T03:17:49.582" v="3478" actId="478"/>
          <ac:cxnSpMkLst>
            <pc:docMk/>
            <pc:sldMk cId="3958462050" sldId="2147376790"/>
            <ac:cxnSpMk id="96" creationId="{62C2AEAB-139D-8A69-D63D-01A1D8493D27}"/>
          </ac:cxnSpMkLst>
        </pc:cxnChg>
        <pc:cxnChg chg="del">
          <ac:chgData name="Clark, Connie" userId="73351e60-ad32-4085-a232-1d9f9b189479" providerId="ADAL" clId="{5F87A5E2-C2A2-4F23-BC8C-28F7F5EA6CA7}" dt="2024-03-25T03:17:49.582" v="3478" actId="478"/>
          <ac:cxnSpMkLst>
            <pc:docMk/>
            <pc:sldMk cId="3958462050" sldId="2147376790"/>
            <ac:cxnSpMk id="97" creationId="{C20D3E7B-588E-3255-CE90-A8FBCA0D6801}"/>
          </ac:cxnSpMkLst>
        </pc:cxnChg>
        <pc:cxnChg chg="del">
          <ac:chgData name="Clark, Connie" userId="73351e60-ad32-4085-a232-1d9f9b189479" providerId="ADAL" clId="{5F87A5E2-C2A2-4F23-BC8C-28F7F5EA6CA7}" dt="2024-03-25T03:17:49.582" v="3478" actId="478"/>
          <ac:cxnSpMkLst>
            <pc:docMk/>
            <pc:sldMk cId="3958462050" sldId="2147376790"/>
            <ac:cxnSpMk id="98" creationId="{5A00527B-9172-FC96-B44E-B2498D905DBA}"/>
          </ac:cxnSpMkLst>
        </pc:cxnChg>
        <pc:cxnChg chg="del mod">
          <ac:chgData name="Clark, Connie" userId="73351e60-ad32-4085-a232-1d9f9b189479" providerId="ADAL" clId="{5F87A5E2-C2A2-4F23-BC8C-28F7F5EA6CA7}" dt="2024-03-25T03:17:49.582" v="3478" actId="478"/>
          <ac:cxnSpMkLst>
            <pc:docMk/>
            <pc:sldMk cId="3958462050" sldId="2147376790"/>
            <ac:cxnSpMk id="109" creationId="{BA7D6F86-EB8D-EC5D-4294-3E1AFF6C2C68}"/>
          </ac:cxnSpMkLst>
        </pc:cxnChg>
        <pc:cxnChg chg="del mod">
          <ac:chgData name="Clark, Connie" userId="73351e60-ad32-4085-a232-1d9f9b189479" providerId="ADAL" clId="{5F87A5E2-C2A2-4F23-BC8C-28F7F5EA6CA7}" dt="2024-03-25T03:17:49.582" v="3478" actId="478"/>
          <ac:cxnSpMkLst>
            <pc:docMk/>
            <pc:sldMk cId="3958462050" sldId="2147376790"/>
            <ac:cxnSpMk id="110" creationId="{5182C397-7145-FDA7-F9A4-DBE3E21F1422}"/>
          </ac:cxnSpMkLst>
        </pc:cxnChg>
        <pc:cxnChg chg="del mod">
          <ac:chgData name="Clark, Connie" userId="73351e60-ad32-4085-a232-1d9f9b189479" providerId="ADAL" clId="{5F87A5E2-C2A2-4F23-BC8C-28F7F5EA6CA7}" dt="2024-03-25T03:17:49.582" v="3478" actId="478"/>
          <ac:cxnSpMkLst>
            <pc:docMk/>
            <pc:sldMk cId="3958462050" sldId="2147376790"/>
            <ac:cxnSpMk id="111" creationId="{7E2BA00F-17A1-A023-0448-A0F961FE8FE1}"/>
          </ac:cxnSpMkLst>
        </pc:cxnChg>
        <pc:cxnChg chg="del mod">
          <ac:chgData name="Clark, Connie" userId="73351e60-ad32-4085-a232-1d9f9b189479" providerId="ADAL" clId="{5F87A5E2-C2A2-4F23-BC8C-28F7F5EA6CA7}" dt="2024-03-25T03:17:49.582" v="3478" actId="478"/>
          <ac:cxnSpMkLst>
            <pc:docMk/>
            <pc:sldMk cId="3958462050" sldId="2147376790"/>
            <ac:cxnSpMk id="112" creationId="{6EB0733D-63E9-6375-885C-AEE8A852569B}"/>
          </ac:cxnSpMkLst>
        </pc:cxnChg>
        <pc:cxnChg chg="del">
          <ac:chgData name="Clark, Connie" userId="73351e60-ad32-4085-a232-1d9f9b189479" providerId="ADAL" clId="{5F87A5E2-C2A2-4F23-BC8C-28F7F5EA6CA7}" dt="2024-03-25T03:17:49.582" v="3478" actId="478"/>
          <ac:cxnSpMkLst>
            <pc:docMk/>
            <pc:sldMk cId="3958462050" sldId="2147376790"/>
            <ac:cxnSpMk id="118" creationId="{2E955162-9E74-1B13-5B44-5E145C90AC23}"/>
          </ac:cxnSpMkLst>
        </pc:cxnChg>
        <pc:cxnChg chg="del">
          <ac:chgData name="Clark, Connie" userId="73351e60-ad32-4085-a232-1d9f9b189479" providerId="ADAL" clId="{5F87A5E2-C2A2-4F23-BC8C-28F7F5EA6CA7}" dt="2024-03-25T03:17:49.582" v="3478" actId="478"/>
          <ac:cxnSpMkLst>
            <pc:docMk/>
            <pc:sldMk cId="3958462050" sldId="2147376790"/>
            <ac:cxnSpMk id="119" creationId="{BFF16F85-8E58-34CC-CF9B-AFFC2618CAE3}"/>
          </ac:cxnSpMkLst>
        </pc:cxnChg>
        <pc:cxnChg chg="del">
          <ac:chgData name="Clark, Connie" userId="73351e60-ad32-4085-a232-1d9f9b189479" providerId="ADAL" clId="{5F87A5E2-C2A2-4F23-BC8C-28F7F5EA6CA7}" dt="2024-03-25T03:17:49.582" v="3478" actId="478"/>
          <ac:cxnSpMkLst>
            <pc:docMk/>
            <pc:sldMk cId="3958462050" sldId="2147376790"/>
            <ac:cxnSpMk id="120" creationId="{ABACD6F2-AB16-EBA3-E8EF-48154F302AFF}"/>
          </ac:cxnSpMkLst>
        </pc:cxnChg>
        <pc:cxnChg chg="del">
          <ac:chgData name="Clark, Connie" userId="73351e60-ad32-4085-a232-1d9f9b189479" providerId="ADAL" clId="{5F87A5E2-C2A2-4F23-BC8C-28F7F5EA6CA7}" dt="2024-03-25T03:17:49.582" v="3478" actId="478"/>
          <ac:cxnSpMkLst>
            <pc:docMk/>
            <pc:sldMk cId="3958462050" sldId="2147376790"/>
            <ac:cxnSpMk id="121" creationId="{0F67CDD3-44EB-2AC0-027A-80E40C16A039}"/>
          </ac:cxnSpMkLst>
        </pc:cxnChg>
        <pc:cxnChg chg="del">
          <ac:chgData name="Clark, Connie" userId="73351e60-ad32-4085-a232-1d9f9b189479" providerId="ADAL" clId="{5F87A5E2-C2A2-4F23-BC8C-28F7F5EA6CA7}" dt="2024-03-25T03:17:49.582" v="3478" actId="478"/>
          <ac:cxnSpMkLst>
            <pc:docMk/>
            <pc:sldMk cId="3958462050" sldId="2147376790"/>
            <ac:cxnSpMk id="122" creationId="{762C38A8-3CAF-899C-D7D6-6AA0EF73469E}"/>
          </ac:cxnSpMkLst>
        </pc:cxnChg>
        <pc:cxnChg chg="del mod">
          <ac:chgData name="Clark, Connie" userId="73351e60-ad32-4085-a232-1d9f9b189479" providerId="ADAL" clId="{5F87A5E2-C2A2-4F23-BC8C-28F7F5EA6CA7}" dt="2024-03-25T03:17:49.582" v="3478" actId="478"/>
          <ac:cxnSpMkLst>
            <pc:docMk/>
            <pc:sldMk cId="3958462050" sldId="2147376790"/>
            <ac:cxnSpMk id="141" creationId="{2ED6E18F-4594-8FA7-B97E-19A3B868E224}"/>
          </ac:cxnSpMkLst>
        </pc:cxnChg>
        <pc:cxnChg chg="del mod">
          <ac:chgData name="Clark, Connie" userId="73351e60-ad32-4085-a232-1d9f9b189479" providerId="ADAL" clId="{5F87A5E2-C2A2-4F23-BC8C-28F7F5EA6CA7}" dt="2024-03-25T03:17:49.582" v="3478" actId="478"/>
          <ac:cxnSpMkLst>
            <pc:docMk/>
            <pc:sldMk cId="3958462050" sldId="2147376790"/>
            <ac:cxnSpMk id="144" creationId="{184F79ED-426D-16A0-FB67-29D6FF6C8DEB}"/>
          </ac:cxnSpMkLst>
        </pc:cxnChg>
        <pc:cxnChg chg="del mod">
          <ac:chgData name="Clark, Connie" userId="73351e60-ad32-4085-a232-1d9f9b189479" providerId="ADAL" clId="{5F87A5E2-C2A2-4F23-BC8C-28F7F5EA6CA7}" dt="2024-03-25T03:17:49.582" v="3478" actId="478"/>
          <ac:cxnSpMkLst>
            <pc:docMk/>
            <pc:sldMk cId="3958462050" sldId="2147376790"/>
            <ac:cxnSpMk id="145" creationId="{1EC0A532-01D6-D1B7-F5F6-428F107E79B0}"/>
          </ac:cxnSpMkLst>
        </pc:cxnChg>
        <pc:cxnChg chg="del mod">
          <ac:chgData name="Clark, Connie" userId="73351e60-ad32-4085-a232-1d9f9b189479" providerId="ADAL" clId="{5F87A5E2-C2A2-4F23-BC8C-28F7F5EA6CA7}" dt="2024-03-25T03:17:49.582" v="3478" actId="478"/>
          <ac:cxnSpMkLst>
            <pc:docMk/>
            <pc:sldMk cId="3958462050" sldId="2147376790"/>
            <ac:cxnSpMk id="146" creationId="{6B47A4FC-7D9A-8943-CAB6-61D6DAA34FDB}"/>
          </ac:cxnSpMkLst>
        </pc:cxnChg>
        <pc:cxnChg chg="del mod">
          <ac:chgData name="Clark, Connie" userId="73351e60-ad32-4085-a232-1d9f9b189479" providerId="ADAL" clId="{5F87A5E2-C2A2-4F23-BC8C-28F7F5EA6CA7}" dt="2024-03-25T03:17:49.582" v="3478" actId="478"/>
          <ac:cxnSpMkLst>
            <pc:docMk/>
            <pc:sldMk cId="3958462050" sldId="2147376790"/>
            <ac:cxnSpMk id="149" creationId="{82E29DA6-BCF1-80D6-8FD0-D078F758DADC}"/>
          </ac:cxnSpMkLst>
        </pc:cxnChg>
        <pc:cxnChg chg="del mod">
          <ac:chgData name="Clark, Connie" userId="73351e60-ad32-4085-a232-1d9f9b189479" providerId="ADAL" clId="{5F87A5E2-C2A2-4F23-BC8C-28F7F5EA6CA7}" dt="2024-03-25T03:17:49.582" v="3478" actId="478"/>
          <ac:cxnSpMkLst>
            <pc:docMk/>
            <pc:sldMk cId="3958462050" sldId="2147376790"/>
            <ac:cxnSpMk id="151" creationId="{9C078A26-B394-88EF-EC2B-64348971AB1F}"/>
          </ac:cxnSpMkLst>
        </pc:cxnChg>
        <pc:cxnChg chg="del mod">
          <ac:chgData name="Clark, Connie" userId="73351e60-ad32-4085-a232-1d9f9b189479" providerId="ADAL" clId="{5F87A5E2-C2A2-4F23-BC8C-28F7F5EA6CA7}" dt="2024-03-25T03:17:49.582" v="3478" actId="478"/>
          <ac:cxnSpMkLst>
            <pc:docMk/>
            <pc:sldMk cId="3958462050" sldId="2147376790"/>
            <ac:cxnSpMk id="152" creationId="{B688AD7E-3412-1D53-3C6A-E77BFAF92FFB}"/>
          </ac:cxnSpMkLst>
        </pc:cxnChg>
        <pc:cxnChg chg="del mod">
          <ac:chgData name="Clark, Connie" userId="73351e60-ad32-4085-a232-1d9f9b189479" providerId="ADAL" clId="{5F87A5E2-C2A2-4F23-BC8C-28F7F5EA6CA7}" dt="2024-03-25T03:17:49.582" v="3478" actId="478"/>
          <ac:cxnSpMkLst>
            <pc:docMk/>
            <pc:sldMk cId="3958462050" sldId="2147376790"/>
            <ac:cxnSpMk id="154" creationId="{7B604D61-4E63-7317-E9D7-C070742CD206}"/>
          </ac:cxnSpMkLst>
        </pc:cxnChg>
        <pc:cxnChg chg="del">
          <ac:chgData name="Clark, Connie" userId="73351e60-ad32-4085-a232-1d9f9b189479" providerId="ADAL" clId="{5F87A5E2-C2A2-4F23-BC8C-28F7F5EA6CA7}" dt="2024-03-25T03:17:49.582" v="3478" actId="478"/>
          <ac:cxnSpMkLst>
            <pc:docMk/>
            <pc:sldMk cId="3958462050" sldId="2147376790"/>
            <ac:cxnSpMk id="158" creationId="{D15947B4-1722-4372-1790-5EA0330D785F}"/>
          </ac:cxnSpMkLst>
        </pc:cxnChg>
        <pc:cxnChg chg="del mod">
          <ac:chgData name="Clark, Connie" userId="73351e60-ad32-4085-a232-1d9f9b189479" providerId="ADAL" clId="{5F87A5E2-C2A2-4F23-BC8C-28F7F5EA6CA7}" dt="2024-03-25T03:17:49.582" v="3478" actId="478"/>
          <ac:cxnSpMkLst>
            <pc:docMk/>
            <pc:sldMk cId="3958462050" sldId="2147376790"/>
            <ac:cxnSpMk id="161" creationId="{5162F612-AD4D-48ED-C277-5E99687B8C3E}"/>
          </ac:cxnSpMkLst>
        </pc:cxnChg>
      </pc:sldChg>
      <pc:sldChg chg="addSp delSp modSp add mod">
        <pc:chgData name="Clark, Connie" userId="73351e60-ad32-4085-a232-1d9f9b189479" providerId="ADAL" clId="{5F87A5E2-C2A2-4F23-BC8C-28F7F5EA6CA7}" dt="2024-05-23T23:59:50.145" v="31030" actId="1076"/>
        <pc:sldMkLst>
          <pc:docMk/>
          <pc:sldMk cId="1850697944" sldId="2147376791"/>
        </pc:sldMkLst>
        <pc:spChg chg="add mod">
          <ac:chgData name="Clark, Connie" userId="73351e60-ad32-4085-a232-1d9f9b189479" providerId="ADAL" clId="{5F87A5E2-C2A2-4F23-BC8C-28F7F5EA6CA7}" dt="2024-03-29T23:06:23.912" v="8633" actId="1076"/>
          <ac:spMkLst>
            <pc:docMk/>
            <pc:sldMk cId="1850697944" sldId="2147376791"/>
            <ac:spMk id="2" creationId="{4305ED94-B0A5-1E71-0C0F-F4708E824D3D}"/>
          </ac:spMkLst>
        </pc:spChg>
        <pc:spChg chg="add mod">
          <ac:chgData name="Clark, Connie" userId="73351e60-ad32-4085-a232-1d9f9b189479" providerId="ADAL" clId="{5F87A5E2-C2A2-4F23-BC8C-28F7F5EA6CA7}" dt="2024-05-23T23:59:50.145" v="31030" actId="1076"/>
          <ac:spMkLst>
            <pc:docMk/>
            <pc:sldMk cId="1850697944" sldId="2147376791"/>
            <ac:spMk id="3" creationId="{267B6024-7D93-6903-D510-43571DB92981}"/>
          </ac:spMkLst>
        </pc:spChg>
        <pc:spChg chg="del">
          <ac:chgData name="Clark, Connie" userId="73351e60-ad32-4085-a232-1d9f9b189479" providerId="ADAL" clId="{5F87A5E2-C2A2-4F23-BC8C-28F7F5EA6CA7}" dt="2024-03-29T23:38:54.260" v="8804" actId="478"/>
          <ac:spMkLst>
            <pc:docMk/>
            <pc:sldMk cId="1850697944" sldId="2147376791"/>
            <ac:spMk id="3" creationId="{9AFBF33D-ED8C-A6DE-E037-F533CE2052F2}"/>
          </ac:spMkLst>
        </pc:spChg>
        <pc:spChg chg="del">
          <ac:chgData name="Clark, Connie" userId="73351e60-ad32-4085-a232-1d9f9b189479" providerId="ADAL" clId="{5F87A5E2-C2A2-4F23-BC8C-28F7F5EA6CA7}" dt="2024-03-29T23:38:51.182" v="8803" actId="478"/>
          <ac:spMkLst>
            <pc:docMk/>
            <pc:sldMk cId="1850697944" sldId="2147376791"/>
            <ac:spMk id="4" creationId="{A4F4489F-E638-7273-86A5-F120A8F53A51}"/>
          </ac:spMkLst>
        </pc:spChg>
        <pc:spChg chg="add mod">
          <ac:chgData name="Clark, Connie" userId="73351e60-ad32-4085-a232-1d9f9b189479" providerId="ADAL" clId="{5F87A5E2-C2A2-4F23-BC8C-28F7F5EA6CA7}" dt="2024-03-29T23:38:55.675" v="8805"/>
          <ac:spMkLst>
            <pc:docMk/>
            <pc:sldMk cId="1850697944" sldId="2147376791"/>
            <ac:spMk id="5" creationId="{400B059E-D658-B563-83DB-1BF90A9D8992}"/>
          </ac:spMkLst>
        </pc:spChg>
        <pc:spChg chg="add mod">
          <ac:chgData name="Clark, Connie" userId="73351e60-ad32-4085-a232-1d9f9b189479" providerId="ADAL" clId="{5F87A5E2-C2A2-4F23-BC8C-28F7F5EA6CA7}" dt="2024-03-29T23:38:55.675" v="8805"/>
          <ac:spMkLst>
            <pc:docMk/>
            <pc:sldMk cId="1850697944" sldId="2147376791"/>
            <ac:spMk id="6" creationId="{362C08EB-515D-4227-C575-53C941C83F6E}"/>
          </ac:spMkLst>
        </pc:spChg>
        <pc:spChg chg="mod">
          <ac:chgData name="Clark, Connie" userId="73351e60-ad32-4085-a232-1d9f9b189479" providerId="ADAL" clId="{5F87A5E2-C2A2-4F23-BC8C-28F7F5EA6CA7}" dt="2024-03-25T03:24:55.928" v="3553"/>
          <ac:spMkLst>
            <pc:docMk/>
            <pc:sldMk cId="1850697944" sldId="2147376791"/>
            <ac:spMk id="28" creationId="{2E6D0D01-6A0F-C209-2507-315A7F45EFD9}"/>
          </ac:spMkLst>
        </pc:spChg>
        <pc:spChg chg="del">
          <ac:chgData name="Clark, Connie" userId="73351e60-ad32-4085-a232-1d9f9b189479" providerId="ADAL" clId="{5F87A5E2-C2A2-4F23-BC8C-28F7F5EA6CA7}" dt="2024-03-25T03:23:25.193" v="3529" actId="478"/>
          <ac:spMkLst>
            <pc:docMk/>
            <pc:sldMk cId="1850697944" sldId="2147376791"/>
            <ac:spMk id="30" creationId="{F8D69F18-5948-06C2-7297-61778E7B37AD}"/>
          </ac:spMkLst>
        </pc:spChg>
        <pc:spChg chg="del">
          <ac:chgData name="Clark, Connie" userId="73351e60-ad32-4085-a232-1d9f9b189479" providerId="ADAL" clId="{5F87A5E2-C2A2-4F23-BC8C-28F7F5EA6CA7}" dt="2024-03-25T03:23:25.193" v="3529" actId="478"/>
          <ac:spMkLst>
            <pc:docMk/>
            <pc:sldMk cId="1850697944" sldId="2147376791"/>
            <ac:spMk id="31" creationId="{E04710F0-3C7A-29A5-6C53-D174C044B428}"/>
          </ac:spMkLst>
        </pc:spChg>
        <pc:spChg chg="del">
          <ac:chgData name="Clark, Connie" userId="73351e60-ad32-4085-a232-1d9f9b189479" providerId="ADAL" clId="{5F87A5E2-C2A2-4F23-BC8C-28F7F5EA6CA7}" dt="2024-03-25T03:23:25.193" v="3529" actId="478"/>
          <ac:spMkLst>
            <pc:docMk/>
            <pc:sldMk cId="1850697944" sldId="2147376791"/>
            <ac:spMk id="64" creationId="{45286D49-65D6-18A7-EB13-F719A6F95D35}"/>
          </ac:spMkLst>
        </pc:spChg>
        <pc:spChg chg="del">
          <ac:chgData name="Clark, Connie" userId="73351e60-ad32-4085-a232-1d9f9b189479" providerId="ADAL" clId="{5F87A5E2-C2A2-4F23-BC8C-28F7F5EA6CA7}" dt="2024-03-25T03:23:25.193" v="3529" actId="478"/>
          <ac:spMkLst>
            <pc:docMk/>
            <pc:sldMk cId="1850697944" sldId="2147376791"/>
            <ac:spMk id="65" creationId="{AF9ADDA3-F308-D994-2BF7-32CD4EEDEF28}"/>
          </ac:spMkLst>
        </pc:spChg>
        <pc:spChg chg="del">
          <ac:chgData name="Clark, Connie" userId="73351e60-ad32-4085-a232-1d9f9b189479" providerId="ADAL" clId="{5F87A5E2-C2A2-4F23-BC8C-28F7F5EA6CA7}" dt="2024-03-25T03:23:25.193" v="3529" actId="478"/>
          <ac:spMkLst>
            <pc:docMk/>
            <pc:sldMk cId="1850697944" sldId="2147376791"/>
            <ac:spMk id="66" creationId="{4036364E-9906-0DE5-A019-C11061D019FE}"/>
          </ac:spMkLst>
        </pc:spChg>
        <pc:spChg chg="del">
          <ac:chgData name="Clark, Connie" userId="73351e60-ad32-4085-a232-1d9f9b189479" providerId="ADAL" clId="{5F87A5E2-C2A2-4F23-BC8C-28F7F5EA6CA7}" dt="2024-03-25T03:23:25.193" v="3529" actId="478"/>
          <ac:spMkLst>
            <pc:docMk/>
            <pc:sldMk cId="1850697944" sldId="2147376791"/>
            <ac:spMk id="67" creationId="{8D1C311A-C1B0-C876-4D6C-CA51DAECDFAE}"/>
          </ac:spMkLst>
        </pc:spChg>
        <pc:spChg chg="del">
          <ac:chgData name="Clark, Connie" userId="73351e60-ad32-4085-a232-1d9f9b189479" providerId="ADAL" clId="{5F87A5E2-C2A2-4F23-BC8C-28F7F5EA6CA7}" dt="2024-03-25T03:23:25.193" v="3529" actId="478"/>
          <ac:spMkLst>
            <pc:docMk/>
            <pc:sldMk cId="1850697944" sldId="2147376791"/>
            <ac:spMk id="68" creationId="{68E5F997-8215-EF18-C04D-5289269C9765}"/>
          </ac:spMkLst>
        </pc:spChg>
        <pc:spChg chg="del">
          <ac:chgData name="Clark, Connie" userId="73351e60-ad32-4085-a232-1d9f9b189479" providerId="ADAL" clId="{5F87A5E2-C2A2-4F23-BC8C-28F7F5EA6CA7}" dt="2024-03-25T03:23:25.193" v="3529" actId="478"/>
          <ac:spMkLst>
            <pc:docMk/>
            <pc:sldMk cId="1850697944" sldId="2147376791"/>
            <ac:spMk id="77" creationId="{D67F5A2F-4897-0B0B-804F-E09D0FC33D68}"/>
          </ac:spMkLst>
        </pc:spChg>
        <pc:spChg chg="del">
          <ac:chgData name="Clark, Connie" userId="73351e60-ad32-4085-a232-1d9f9b189479" providerId="ADAL" clId="{5F87A5E2-C2A2-4F23-BC8C-28F7F5EA6CA7}" dt="2024-03-25T03:23:25.193" v="3529" actId="478"/>
          <ac:spMkLst>
            <pc:docMk/>
            <pc:sldMk cId="1850697944" sldId="2147376791"/>
            <ac:spMk id="78" creationId="{30B55578-0BEC-C027-C586-29451171FAC3}"/>
          </ac:spMkLst>
        </pc:spChg>
        <pc:spChg chg="del">
          <ac:chgData name="Clark, Connie" userId="73351e60-ad32-4085-a232-1d9f9b189479" providerId="ADAL" clId="{5F87A5E2-C2A2-4F23-BC8C-28F7F5EA6CA7}" dt="2024-03-25T03:23:25.193" v="3529" actId="478"/>
          <ac:spMkLst>
            <pc:docMk/>
            <pc:sldMk cId="1850697944" sldId="2147376791"/>
            <ac:spMk id="79" creationId="{1DED7E92-93CC-8853-26B1-51BAE50B7922}"/>
          </ac:spMkLst>
        </pc:spChg>
        <pc:spChg chg="del">
          <ac:chgData name="Clark, Connie" userId="73351e60-ad32-4085-a232-1d9f9b189479" providerId="ADAL" clId="{5F87A5E2-C2A2-4F23-BC8C-28F7F5EA6CA7}" dt="2024-03-25T03:23:25.193" v="3529" actId="478"/>
          <ac:spMkLst>
            <pc:docMk/>
            <pc:sldMk cId="1850697944" sldId="2147376791"/>
            <ac:spMk id="80" creationId="{98A6142B-1277-F3AB-D40D-D4AF071D5545}"/>
          </ac:spMkLst>
        </pc:spChg>
        <pc:spChg chg="del">
          <ac:chgData name="Clark, Connie" userId="73351e60-ad32-4085-a232-1d9f9b189479" providerId="ADAL" clId="{5F87A5E2-C2A2-4F23-BC8C-28F7F5EA6CA7}" dt="2024-03-25T03:23:25.193" v="3529" actId="478"/>
          <ac:spMkLst>
            <pc:docMk/>
            <pc:sldMk cId="1850697944" sldId="2147376791"/>
            <ac:spMk id="81" creationId="{5AFDA5B0-7B71-9542-EDB6-86ED7D2AB23B}"/>
          </ac:spMkLst>
        </pc:spChg>
        <pc:spChg chg="del">
          <ac:chgData name="Clark, Connie" userId="73351e60-ad32-4085-a232-1d9f9b189479" providerId="ADAL" clId="{5F87A5E2-C2A2-4F23-BC8C-28F7F5EA6CA7}" dt="2024-03-25T03:23:25.193" v="3529" actId="478"/>
          <ac:spMkLst>
            <pc:docMk/>
            <pc:sldMk cId="1850697944" sldId="2147376791"/>
            <ac:spMk id="82" creationId="{0917417E-2117-C78C-BBC5-D573A05D7007}"/>
          </ac:spMkLst>
        </pc:spChg>
        <pc:spChg chg="mod">
          <ac:chgData name="Clark, Connie" userId="73351e60-ad32-4085-a232-1d9f9b189479" providerId="ADAL" clId="{5F87A5E2-C2A2-4F23-BC8C-28F7F5EA6CA7}" dt="2024-03-25T03:25:17.645" v="3563" actId="20577"/>
          <ac:spMkLst>
            <pc:docMk/>
            <pc:sldMk cId="1850697944" sldId="2147376791"/>
            <ac:spMk id="176" creationId="{7904F9E7-6A77-80B1-9CDB-2717F95B7975}"/>
          </ac:spMkLst>
        </pc:spChg>
        <pc:graphicFrameChg chg="del mod">
          <ac:chgData name="Clark, Connie" userId="73351e60-ad32-4085-a232-1d9f9b189479" providerId="ADAL" clId="{5F87A5E2-C2A2-4F23-BC8C-28F7F5EA6CA7}" dt="2024-03-25T03:23:35.154" v="3533" actId="478"/>
          <ac:graphicFrameMkLst>
            <pc:docMk/>
            <pc:sldMk cId="1850697944" sldId="2147376791"/>
            <ac:graphicFrameMk id="29" creationId="{6967282F-8119-9F22-AFA7-8CA40C99AB66}"/>
          </ac:graphicFrameMkLst>
        </pc:graphicFrameChg>
        <pc:cxnChg chg="del">
          <ac:chgData name="Clark, Connie" userId="73351e60-ad32-4085-a232-1d9f9b189479" providerId="ADAL" clId="{5F87A5E2-C2A2-4F23-BC8C-28F7F5EA6CA7}" dt="2024-03-25T03:23:25.193" v="3529" actId="478"/>
          <ac:cxnSpMkLst>
            <pc:docMk/>
            <pc:sldMk cId="1850697944" sldId="2147376791"/>
            <ac:cxnSpMk id="69" creationId="{01691E5E-0A77-1C5E-BFD7-AA77B49284CB}"/>
          </ac:cxnSpMkLst>
        </pc:cxnChg>
        <pc:cxnChg chg="del">
          <ac:chgData name="Clark, Connie" userId="73351e60-ad32-4085-a232-1d9f9b189479" providerId="ADAL" clId="{5F87A5E2-C2A2-4F23-BC8C-28F7F5EA6CA7}" dt="2024-03-25T03:23:25.193" v="3529" actId="478"/>
          <ac:cxnSpMkLst>
            <pc:docMk/>
            <pc:sldMk cId="1850697944" sldId="2147376791"/>
            <ac:cxnSpMk id="70" creationId="{29B33DF6-9257-EDC6-07A5-6B475957F951}"/>
          </ac:cxnSpMkLst>
        </pc:cxnChg>
        <pc:cxnChg chg="del">
          <ac:chgData name="Clark, Connie" userId="73351e60-ad32-4085-a232-1d9f9b189479" providerId="ADAL" clId="{5F87A5E2-C2A2-4F23-BC8C-28F7F5EA6CA7}" dt="2024-03-25T03:23:25.193" v="3529" actId="478"/>
          <ac:cxnSpMkLst>
            <pc:docMk/>
            <pc:sldMk cId="1850697944" sldId="2147376791"/>
            <ac:cxnSpMk id="71" creationId="{7BCC3A17-5A4A-5AE8-6060-C432D5867FEB}"/>
          </ac:cxnSpMkLst>
        </pc:cxnChg>
        <pc:cxnChg chg="del">
          <ac:chgData name="Clark, Connie" userId="73351e60-ad32-4085-a232-1d9f9b189479" providerId="ADAL" clId="{5F87A5E2-C2A2-4F23-BC8C-28F7F5EA6CA7}" dt="2024-03-25T03:23:25.193" v="3529" actId="478"/>
          <ac:cxnSpMkLst>
            <pc:docMk/>
            <pc:sldMk cId="1850697944" sldId="2147376791"/>
            <ac:cxnSpMk id="72" creationId="{C57B46C6-7350-D7AB-7DB9-82F7AC585D8A}"/>
          </ac:cxnSpMkLst>
        </pc:cxnChg>
        <pc:cxnChg chg="del">
          <ac:chgData name="Clark, Connie" userId="73351e60-ad32-4085-a232-1d9f9b189479" providerId="ADAL" clId="{5F87A5E2-C2A2-4F23-BC8C-28F7F5EA6CA7}" dt="2024-03-25T03:23:25.193" v="3529" actId="478"/>
          <ac:cxnSpMkLst>
            <pc:docMk/>
            <pc:sldMk cId="1850697944" sldId="2147376791"/>
            <ac:cxnSpMk id="73" creationId="{D917F746-BB35-9174-7341-49490F6AC6B6}"/>
          </ac:cxnSpMkLst>
        </pc:cxnChg>
        <pc:cxnChg chg="del">
          <ac:chgData name="Clark, Connie" userId="73351e60-ad32-4085-a232-1d9f9b189479" providerId="ADAL" clId="{5F87A5E2-C2A2-4F23-BC8C-28F7F5EA6CA7}" dt="2024-03-25T03:23:25.193" v="3529" actId="478"/>
          <ac:cxnSpMkLst>
            <pc:docMk/>
            <pc:sldMk cId="1850697944" sldId="2147376791"/>
            <ac:cxnSpMk id="74" creationId="{836387B4-80C2-DC0E-F1CE-04A598E7761E}"/>
          </ac:cxnSpMkLst>
        </pc:cxnChg>
        <pc:cxnChg chg="del">
          <ac:chgData name="Clark, Connie" userId="73351e60-ad32-4085-a232-1d9f9b189479" providerId="ADAL" clId="{5F87A5E2-C2A2-4F23-BC8C-28F7F5EA6CA7}" dt="2024-03-25T03:23:25.193" v="3529" actId="478"/>
          <ac:cxnSpMkLst>
            <pc:docMk/>
            <pc:sldMk cId="1850697944" sldId="2147376791"/>
            <ac:cxnSpMk id="75" creationId="{6964ACCD-EFF5-7A06-3151-14D76EC626D7}"/>
          </ac:cxnSpMkLst>
        </pc:cxnChg>
        <pc:cxnChg chg="del">
          <ac:chgData name="Clark, Connie" userId="73351e60-ad32-4085-a232-1d9f9b189479" providerId="ADAL" clId="{5F87A5E2-C2A2-4F23-BC8C-28F7F5EA6CA7}" dt="2024-03-25T03:23:28.289" v="3530" actId="478"/>
          <ac:cxnSpMkLst>
            <pc:docMk/>
            <pc:sldMk cId="1850697944" sldId="2147376791"/>
            <ac:cxnSpMk id="76" creationId="{A6161B40-53CE-04EE-0CA5-172E5E5CFBB8}"/>
          </ac:cxnSpMkLst>
        </pc:cxnChg>
      </pc:sldChg>
      <pc:sldChg chg="add del">
        <pc:chgData name="Clark, Connie" userId="73351e60-ad32-4085-a232-1d9f9b189479" providerId="ADAL" clId="{5F87A5E2-C2A2-4F23-BC8C-28F7F5EA6CA7}" dt="2024-03-25T03:23:05.858" v="3526"/>
        <pc:sldMkLst>
          <pc:docMk/>
          <pc:sldMk cId="2492104352" sldId="2147376791"/>
        </pc:sldMkLst>
      </pc:sldChg>
      <pc:sldChg chg="addSp delSp modSp add mod">
        <pc:chgData name="Clark, Connie" userId="73351e60-ad32-4085-a232-1d9f9b189479" providerId="ADAL" clId="{5F87A5E2-C2A2-4F23-BC8C-28F7F5EA6CA7}" dt="2024-03-29T23:38:42.503" v="8802"/>
        <pc:sldMkLst>
          <pc:docMk/>
          <pc:sldMk cId="4112599868" sldId="2147376792"/>
        </pc:sldMkLst>
        <pc:spChg chg="add mod">
          <ac:chgData name="Clark, Connie" userId="73351e60-ad32-4085-a232-1d9f9b189479" providerId="ADAL" clId="{5F87A5E2-C2A2-4F23-BC8C-28F7F5EA6CA7}" dt="2024-03-25T13:35:00.683" v="4385" actId="1076"/>
          <ac:spMkLst>
            <pc:docMk/>
            <pc:sldMk cId="4112599868" sldId="2147376792"/>
            <ac:spMk id="2" creationId="{3308592F-6DE8-4DAE-C115-7369990D7557}"/>
          </ac:spMkLst>
        </pc:spChg>
        <pc:spChg chg="del">
          <ac:chgData name="Clark, Connie" userId="73351e60-ad32-4085-a232-1d9f9b189479" providerId="ADAL" clId="{5F87A5E2-C2A2-4F23-BC8C-28F7F5EA6CA7}" dt="2024-03-29T23:38:40.556" v="8801" actId="478"/>
          <ac:spMkLst>
            <pc:docMk/>
            <pc:sldMk cId="4112599868" sldId="2147376792"/>
            <ac:spMk id="3" creationId="{9AFBF33D-ED8C-A6DE-E037-F533CE2052F2}"/>
          </ac:spMkLst>
        </pc:spChg>
        <pc:spChg chg="del">
          <ac:chgData name="Clark, Connie" userId="73351e60-ad32-4085-a232-1d9f9b189479" providerId="ADAL" clId="{5F87A5E2-C2A2-4F23-BC8C-28F7F5EA6CA7}" dt="2024-03-29T23:38:39.412" v="8800" actId="478"/>
          <ac:spMkLst>
            <pc:docMk/>
            <pc:sldMk cId="4112599868" sldId="2147376792"/>
            <ac:spMk id="4" creationId="{A4F4489F-E638-7273-86A5-F120A8F53A51}"/>
          </ac:spMkLst>
        </pc:spChg>
        <pc:spChg chg="add mod">
          <ac:chgData name="Clark, Connie" userId="73351e60-ad32-4085-a232-1d9f9b189479" providerId="ADAL" clId="{5F87A5E2-C2A2-4F23-BC8C-28F7F5EA6CA7}" dt="2024-03-25T15:25:01.461" v="4450" actId="1076"/>
          <ac:spMkLst>
            <pc:docMk/>
            <pc:sldMk cId="4112599868" sldId="2147376792"/>
            <ac:spMk id="5" creationId="{4AFF9318-471D-872E-A542-D29ABCB78A3A}"/>
          </ac:spMkLst>
        </pc:spChg>
        <pc:spChg chg="add mod">
          <ac:chgData name="Clark, Connie" userId="73351e60-ad32-4085-a232-1d9f9b189479" providerId="ADAL" clId="{5F87A5E2-C2A2-4F23-BC8C-28F7F5EA6CA7}" dt="2024-03-29T23:38:42.503" v="8802"/>
          <ac:spMkLst>
            <pc:docMk/>
            <pc:sldMk cId="4112599868" sldId="2147376792"/>
            <ac:spMk id="7" creationId="{91350581-9F7F-C103-C17C-62D7616AEAE7}"/>
          </ac:spMkLst>
        </pc:spChg>
        <pc:spChg chg="add mod">
          <ac:chgData name="Clark, Connie" userId="73351e60-ad32-4085-a232-1d9f9b189479" providerId="ADAL" clId="{5F87A5E2-C2A2-4F23-BC8C-28F7F5EA6CA7}" dt="2024-03-29T23:38:42.503" v="8802"/>
          <ac:spMkLst>
            <pc:docMk/>
            <pc:sldMk cId="4112599868" sldId="2147376792"/>
            <ac:spMk id="8" creationId="{B0CB3D92-E0B8-1720-986A-E144F03EB25D}"/>
          </ac:spMkLst>
        </pc:spChg>
        <pc:spChg chg="mod">
          <ac:chgData name="Clark, Connie" userId="73351e60-ad32-4085-a232-1d9f9b189479" providerId="ADAL" clId="{5F87A5E2-C2A2-4F23-BC8C-28F7F5EA6CA7}" dt="2024-03-25T03:25:08.698" v="3557" actId="20577"/>
          <ac:spMkLst>
            <pc:docMk/>
            <pc:sldMk cId="4112599868" sldId="2147376792"/>
            <ac:spMk id="176" creationId="{7904F9E7-6A77-80B1-9CDB-2717F95B7975}"/>
          </ac:spMkLst>
        </pc:spChg>
        <pc:picChg chg="add mod">
          <ac:chgData name="Clark, Connie" userId="73351e60-ad32-4085-a232-1d9f9b189479" providerId="ADAL" clId="{5F87A5E2-C2A2-4F23-BC8C-28F7F5EA6CA7}" dt="2024-03-25T15:25:54.977" v="4453" actId="1076"/>
          <ac:picMkLst>
            <pc:docMk/>
            <pc:sldMk cId="4112599868" sldId="2147376792"/>
            <ac:picMk id="6" creationId="{D0B649CB-503D-C4BE-652D-B9647992CF3A}"/>
          </ac:picMkLst>
        </pc:picChg>
      </pc:sldChg>
      <pc:sldChg chg="addSp delSp modSp add del mod ord">
        <pc:chgData name="Clark, Connie" userId="73351e60-ad32-4085-a232-1d9f9b189479" providerId="ADAL" clId="{5F87A5E2-C2A2-4F23-BC8C-28F7F5EA6CA7}" dt="2024-05-24T00:09:13.161" v="31035" actId="2696"/>
        <pc:sldMkLst>
          <pc:docMk/>
          <pc:sldMk cId="3179447405" sldId="2147376793"/>
        </pc:sldMkLst>
        <pc:spChg chg="add del mod">
          <ac:chgData name="Clark, Connie" userId="73351e60-ad32-4085-a232-1d9f9b189479" providerId="ADAL" clId="{5F87A5E2-C2A2-4F23-BC8C-28F7F5EA6CA7}" dt="2024-03-25T04:06:07.034" v="3943" actId="478"/>
          <ac:spMkLst>
            <pc:docMk/>
            <pc:sldMk cId="3179447405" sldId="2147376793"/>
            <ac:spMk id="2" creationId="{20470336-4902-2691-0CDA-259622D8A4BC}"/>
          </ac:spMkLst>
        </pc:spChg>
        <pc:spChg chg="add mod">
          <ac:chgData name="Clark, Connie" userId="73351e60-ad32-4085-a232-1d9f9b189479" providerId="ADAL" clId="{5F87A5E2-C2A2-4F23-BC8C-28F7F5EA6CA7}" dt="2024-03-31T05:20:50.170" v="21484"/>
          <ac:spMkLst>
            <pc:docMk/>
            <pc:sldMk cId="3179447405" sldId="2147376793"/>
            <ac:spMk id="2" creationId="{9136D292-893E-59DC-C20D-5BCB7536F412}"/>
          </ac:spMkLst>
        </pc:spChg>
        <pc:spChg chg="mod">
          <ac:chgData name="Clark, Connie" userId="73351e60-ad32-4085-a232-1d9f9b189479" providerId="ADAL" clId="{5F87A5E2-C2A2-4F23-BC8C-28F7F5EA6CA7}" dt="2024-03-31T05:24:30.446" v="21502" actId="207"/>
          <ac:spMkLst>
            <pc:docMk/>
            <pc:sldMk cId="3179447405" sldId="2147376793"/>
            <ac:spMk id="4" creationId="{7E78FA78-ABD1-E962-7429-A8D1FDE37E9F}"/>
          </ac:spMkLst>
        </pc:spChg>
        <pc:spChg chg="mod">
          <ac:chgData name="Clark, Connie" userId="73351e60-ad32-4085-a232-1d9f9b189479" providerId="ADAL" clId="{5F87A5E2-C2A2-4F23-BC8C-28F7F5EA6CA7}" dt="2024-03-30T01:27:24.109" v="11677" actId="20577"/>
          <ac:spMkLst>
            <pc:docMk/>
            <pc:sldMk cId="3179447405" sldId="2147376793"/>
            <ac:spMk id="5" creationId="{EFFA606A-F1B9-C654-8418-8BF5C56CF0F4}"/>
          </ac:spMkLst>
        </pc:spChg>
        <pc:spChg chg="add mod">
          <ac:chgData name="Clark, Connie" userId="73351e60-ad32-4085-a232-1d9f9b189479" providerId="ADAL" clId="{5F87A5E2-C2A2-4F23-BC8C-28F7F5EA6CA7}" dt="2024-03-30T01:25:37.599" v="11639" actId="1076"/>
          <ac:spMkLst>
            <pc:docMk/>
            <pc:sldMk cId="3179447405" sldId="2147376793"/>
            <ac:spMk id="6" creationId="{5183F075-A04F-B635-486A-AE97F8318141}"/>
          </ac:spMkLst>
        </pc:spChg>
        <pc:spChg chg="add del mod">
          <ac:chgData name="Clark, Connie" userId="73351e60-ad32-4085-a232-1d9f9b189479" providerId="ADAL" clId="{5F87A5E2-C2A2-4F23-BC8C-28F7F5EA6CA7}" dt="2024-03-25T04:03:48.699" v="3926" actId="21"/>
          <ac:spMkLst>
            <pc:docMk/>
            <pc:sldMk cId="3179447405" sldId="2147376793"/>
            <ac:spMk id="10" creationId="{C970EB0A-D76B-DA61-011C-ADA8B6A38721}"/>
          </ac:spMkLst>
        </pc:spChg>
        <pc:spChg chg="mod">
          <ac:chgData name="Clark, Connie" userId="73351e60-ad32-4085-a232-1d9f9b189479" providerId="ADAL" clId="{5F87A5E2-C2A2-4F23-BC8C-28F7F5EA6CA7}" dt="2024-03-30T02:27:31.887" v="13146" actId="20577"/>
          <ac:spMkLst>
            <pc:docMk/>
            <pc:sldMk cId="3179447405" sldId="2147376793"/>
            <ac:spMk id="13" creationId="{6453CB8F-D437-AB31-1471-1B424513D2BD}"/>
          </ac:spMkLst>
        </pc:spChg>
        <pc:spChg chg="add del mod">
          <ac:chgData name="Clark, Connie" userId="73351e60-ad32-4085-a232-1d9f9b189479" providerId="ADAL" clId="{5F87A5E2-C2A2-4F23-BC8C-28F7F5EA6CA7}" dt="2024-03-25T04:00:20.513" v="3904" actId="478"/>
          <ac:spMkLst>
            <pc:docMk/>
            <pc:sldMk cId="3179447405" sldId="2147376793"/>
            <ac:spMk id="17" creationId="{7867B450-E674-91FB-3588-EC0AB5367EAC}"/>
          </ac:spMkLst>
        </pc:spChg>
        <pc:spChg chg="add mod">
          <ac:chgData name="Clark, Connie" userId="73351e60-ad32-4085-a232-1d9f9b189479" providerId="ADAL" clId="{5F87A5E2-C2A2-4F23-BC8C-28F7F5EA6CA7}" dt="2024-03-30T01:06:08.047" v="11419" actId="1076"/>
          <ac:spMkLst>
            <pc:docMk/>
            <pc:sldMk cId="3179447405" sldId="2147376793"/>
            <ac:spMk id="18" creationId="{93787963-738A-C451-1BE5-815FBB81AD79}"/>
          </ac:spMkLst>
        </pc:spChg>
        <pc:spChg chg="del mod">
          <ac:chgData name="Clark, Connie" userId="73351e60-ad32-4085-a232-1d9f9b189479" providerId="ADAL" clId="{5F87A5E2-C2A2-4F23-BC8C-28F7F5EA6CA7}" dt="2024-03-31T05:20:49.441" v="21483" actId="478"/>
          <ac:spMkLst>
            <pc:docMk/>
            <pc:sldMk cId="3179447405" sldId="2147376793"/>
            <ac:spMk id="19" creationId="{EB1B145D-C6D0-7636-B993-3B67735A0205}"/>
          </ac:spMkLst>
        </pc:spChg>
        <pc:spChg chg="del mod">
          <ac:chgData name="Clark, Connie" userId="73351e60-ad32-4085-a232-1d9f9b189479" providerId="ADAL" clId="{5F87A5E2-C2A2-4F23-BC8C-28F7F5EA6CA7}" dt="2024-03-25T03:51:28.945" v="3794" actId="478"/>
          <ac:spMkLst>
            <pc:docMk/>
            <pc:sldMk cId="3179447405" sldId="2147376793"/>
            <ac:spMk id="21" creationId="{B3D4CB30-715B-E29B-DF50-18ACA0123CD0}"/>
          </ac:spMkLst>
        </pc:spChg>
        <pc:spChg chg="add del mod">
          <ac:chgData name="Clark, Connie" userId="73351e60-ad32-4085-a232-1d9f9b189479" providerId="ADAL" clId="{5F87A5E2-C2A2-4F23-BC8C-28F7F5EA6CA7}" dt="2024-03-25T04:05:06.320" v="3936" actId="478"/>
          <ac:spMkLst>
            <pc:docMk/>
            <pc:sldMk cId="3179447405" sldId="2147376793"/>
            <ac:spMk id="24" creationId="{1DCB1BB2-F664-164F-89FF-70729BE14F45}"/>
          </ac:spMkLst>
        </pc:spChg>
        <pc:spChg chg="add mod">
          <ac:chgData name="Clark, Connie" userId="73351e60-ad32-4085-a232-1d9f9b189479" providerId="ADAL" clId="{5F87A5E2-C2A2-4F23-BC8C-28F7F5EA6CA7}" dt="2024-03-30T01:06:08.047" v="11419" actId="1076"/>
          <ac:spMkLst>
            <pc:docMk/>
            <pc:sldMk cId="3179447405" sldId="2147376793"/>
            <ac:spMk id="27" creationId="{014B3EF6-000F-CA7A-CDB2-4B997177478E}"/>
          </ac:spMkLst>
        </pc:spChg>
        <pc:spChg chg="add mod">
          <ac:chgData name="Clark, Connie" userId="73351e60-ad32-4085-a232-1d9f9b189479" providerId="ADAL" clId="{5F87A5E2-C2A2-4F23-BC8C-28F7F5EA6CA7}" dt="2024-03-30T01:06:13.279" v="11420" actId="1076"/>
          <ac:spMkLst>
            <pc:docMk/>
            <pc:sldMk cId="3179447405" sldId="2147376793"/>
            <ac:spMk id="28" creationId="{3C630108-40D2-86F5-D216-35EA7155E414}"/>
          </ac:spMkLst>
        </pc:spChg>
        <pc:picChg chg="add del mod">
          <ac:chgData name="Clark, Connie" userId="73351e60-ad32-4085-a232-1d9f9b189479" providerId="ADAL" clId="{5F87A5E2-C2A2-4F23-BC8C-28F7F5EA6CA7}" dt="2024-03-25T04:03:28.192" v="3922" actId="478"/>
          <ac:picMkLst>
            <pc:docMk/>
            <pc:sldMk cId="3179447405" sldId="2147376793"/>
            <ac:picMk id="20" creationId="{AC1C9E3C-D98A-A353-F8FC-63BCC95D91AE}"/>
          </ac:picMkLst>
        </pc:picChg>
        <pc:picChg chg="add mod">
          <ac:chgData name="Clark, Connie" userId="73351e60-ad32-4085-a232-1d9f9b189479" providerId="ADAL" clId="{5F87A5E2-C2A2-4F23-BC8C-28F7F5EA6CA7}" dt="2024-03-30T01:06:08.047" v="11419" actId="1076"/>
          <ac:picMkLst>
            <pc:docMk/>
            <pc:sldMk cId="3179447405" sldId="2147376793"/>
            <ac:picMk id="23" creationId="{32BB6415-1BCA-89FF-9F43-C1015A5E6628}"/>
          </ac:picMkLst>
        </pc:picChg>
        <pc:cxnChg chg="mod">
          <ac:chgData name="Clark, Connie" userId="73351e60-ad32-4085-a232-1d9f9b189479" providerId="ADAL" clId="{5F87A5E2-C2A2-4F23-BC8C-28F7F5EA6CA7}" dt="2024-03-31T05:24:39.888" v="21503" actId="208"/>
          <ac:cxnSpMkLst>
            <pc:docMk/>
            <pc:sldMk cId="3179447405" sldId="2147376793"/>
            <ac:cxnSpMk id="7" creationId="{85D1103F-6D11-B879-0659-00B1A64C52F1}"/>
          </ac:cxnSpMkLst>
        </pc:cxnChg>
        <pc:cxnChg chg="mod">
          <ac:chgData name="Clark, Connie" userId="73351e60-ad32-4085-a232-1d9f9b189479" providerId="ADAL" clId="{5F87A5E2-C2A2-4F23-BC8C-28F7F5EA6CA7}" dt="2024-03-31T05:24:39.888" v="21503" actId="208"/>
          <ac:cxnSpMkLst>
            <pc:docMk/>
            <pc:sldMk cId="3179447405" sldId="2147376793"/>
            <ac:cxnSpMk id="9" creationId="{26362CCB-3D61-6D87-535C-BBA0B0C11BCA}"/>
          </ac:cxnSpMkLst>
        </pc:cxnChg>
      </pc:sldChg>
      <pc:sldChg chg="addSp delSp modSp add mod ord">
        <pc:chgData name="Clark, Connie" userId="73351e60-ad32-4085-a232-1d9f9b189479" providerId="ADAL" clId="{5F87A5E2-C2A2-4F23-BC8C-28F7F5EA6CA7}" dt="2024-03-29T23:44:29.391" v="8856"/>
        <pc:sldMkLst>
          <pc:docMk/>
          <pc:sldMk cId="2971168032" sldId="2147376794"/>
        </pc:sldMkLst>
        <pc:spChg chg="add mod">
          <ac:chgData name="Clark, Connie" userId="73351e60-ad32-4085-a232-1d9f9b189479" providerId="ADAL" clId="{5F87A5E2-C2A2-4F23-BC8C-28F7F5EA6CA7}" dt="2024-03-29T23:44:00.756" v="8853"/>
          <ac:spMkLst>
            <pc:docMk/>
            <pc:sldMk cId="2971168032" sldId="2147376794"/>
            <ac:spMk id="2" creationId="{8DACB915-B28B-66B9-F7F2-16EB272D612D}"/>
          </ac:spMkLst>
        </pc:spChg>
        <pc:spChg chg="del mod">
          <ac:chgData name="Clark, Connie" userId="73351e60-ad32-4085-a232-1d9f9b189479" providerId="ADAL" clId="{5F87A5E2-C2A2-4F23-BC8C-28F7F5EA6CA7}" dt="2024-03-29T23:44:03.192" v="8854" actId="478"/>
          <ac:spMkLst>
            <pc:docMk/>
            <pc:sldMk cId="2971168032" sldId="2147376794"/>
            <ac:spMk id="4" creationId="{7E78FA78-ABD1-E962-7429-A8D1FDE37E9F}"/>
          </ac:spMkLst>
        </pc:spChg>
      </pc:sldChg>
      <pc:sldChg chg="add del">
        <pc:chgData name="Clark, Connie" userId="73351e60-ad32-4085-a232-1d9f9b189479" providerId="ADAL" clId="{5F87A5E2-C2A2-4F23-BC8C-28F7F5EA6CA7}" dt="2024-03-25T03:38:38.240" v="3572" actId="47"/>
        <pc:sldMkLst>
          <pc:docMk/>
          <pc:sldMk cId="3391466730" sldId="2147376794"/>
        </pc:sldMkLst>
      </pc:sldChg>
      <pc:sldChg chg="addSp delSp modSp add del mod ord">
        <pc:chgData name="Clark, Connie" userId="73351e60-ad32-4085-a232-1d9f9b189479" providerId="ADAL" clId="{5F87A5E2-C2A2-4F23-BC8C-28F7F5EA6CA7}" dt="2024-05-24T00:09:13.161" v="31035" actId="2696"/>
        <pc:sldMkLst>
          <pc:docMk/>
          <pc:sldMk cId="2238414157" sldId="2147376795"/>
        </pc:sldMkLst>
        <pc:spChg chg="del mod">
          <ac:chgData name="Clark, Connie" userId="73351e60-ad32-4085-a232-1d9f9b189479" providerId="ADAL" clId="{5F87A5E2-C2A2-4F23-BC8C-28F7F5EA6CA7}" dt="2024-03-30T20:02:42.805" v="13233" actId="478"/>
          <ac:spMkLst>
            <pc:docMk/>
            <pc:sldMk cId="2238414157" sldId="2147376795"/>
            <ac:spMk id="2" creationId="{20470336-4902-2691-0CDA-259622D8A4BC}"/>
          </ac:spMkLst>
        </pc:spChg>
        <pc:spChg chg="add mod">
          <ac:chgData name="Clark, Connie" userId="73351e60-ad32-4085-a232-1d9f9b189479" providerId="ADAL" clId="{5F87A5E2-C2A2-4F23-BC8C-28F7F5EA6CA7}" dt="2024-03-31T01:56:35.129" v="17687"/>
          <ac:spMkLst>
            <pc:docMk/>
            <pc:sldMk cId="2238414157" sldId="2147376795"/>
            <ac:spMk id="2" creationId="{5225B32C-9C36-E69D-491F-C8B74CF69A97}"/>
          </ac:spMkLst>
        </pc:spChg>
        <pc:spChg chg="del mod">
          <ac:chgData name="Clark, Connie" userId="73351e60-ad32-4085-a232-1d9f9b189479" providerId="ADAL" clId="{5F87A5E2-C2A2-4F23-BC8C-28F7F5EA6CA7}" dt="2024-03-30T22:46:01.338" v="15471" actId="478"/>
          <ac:spMkLst>
            <pc:docMk/>
            <pc:sldMk cId="2238414157" sldId="2147376795"/>
            <ac:spMk id="4" creationId="{7E78FA78-ABD1-E962-7429-A8D1FDE37E9F}"/>
          </ac:spMkLst>
        </pc:spChg>
        <pc:spChg chg="add del mod">
          <ac:chgData name="Clark, Connie" userId="73351e60-ad32-4085-a232-1d9f9b189479" providerId="ADAL" clId="{5F87A5E2-C2A2-4F23-BC8C-28F7F5EA6CA7}" dt="2024-03-31T01:56:41.869" v="17688" actId="478"/>
          <ac:spMkLst>
            <pc:docMk/>
            <pc:sldMk cId="2238414157" sldId="2147376795"/>
            <ac:spMk id="4" creationId="{E1A76934-06B7-2A20-D5E1-42AF2B53B898}"/>
          </ac:spMkLst>
        </pc:spChg>
        <pc:spChg chg="add mod">
          <ac:chgData name="Clark, Connie" userId="73351e60-ad32-4085-a232-1d9f9b189479" providerId="ADAL" clId="{5F87A5E2-C2A2-4F23-BC8C-28F7F5EA6CA7}" dt="2024-03-31T02:01:22.264" v="17923" actId="1076"/>
          <ac:spMkLst>
            <pc:docMk/>
            <pc:sldMk cId="2238414157" sldId="2147376795"/>
            <ac:spMk id="5" creationId="{94D9B6C1-465D-A56E-F43F-40B387F0B6BE}"/>
          </ac:spMkLst>
        </pc:spChg>
        <pc:spChg chg="del mod">
          <ac:chgData name="Clark, Connie" userId="73351e60-ad32-4085-a232-1d9f9b189479" providerId="ADAL" clId="{5F87A5E2-C2A2-4F23-BC8C-28F7F5EA6CA7}" dt="2024-03-25T03:47:31.033" v="3673" actId="478"/>
          <ac:spMkLst>
            <pc:docMk/>
            <pc:sldMk cId="2238414157" sldId="2147376795"/>
            <ac:spMk id="5" creationId="{EFFA606A-F1B9-C654-8418-8BF5C56CF0F4}"/>
          </ac:spMkLst>
        </pc:spChg>
        <pc:spChg chg="add mod">
          <ac:chgData name="Clark, Connie" userId="73351e60-ad32-4085-a232-1d9f9b189479" providerId="ADAL" clId="{5F87A5E2-C2A2-4F23-BC8C-28F7F5EA6CA7}" dt="2024-03-30T20:37:48.201" v="13784" actId="1076"/>
          <ac:spMkLst>
            <pc:docMk/>
            <pc:sldMk cId="2238414157" sldId="2147376795"/>
            <ac:spMk id="6" creationId="{540C1931-842B-086C-DEA4-02B5D01C09B1}"/>
          </ac:spMkLst>
        </pc:spChg>
        <pc:spChg chg="add mod">
          <ac:chgData name="Clark, Connie" userId="73351e60-ad32-4085-a232-1d9f9b189479" providerId="ADAL" clId="{5F87A5E2-C2A2-4F23-BC8C-28F7F5EA6CA7}" dt="2024-03-31T01:56:35.129" v="17687"/>
          <ac:spMkLst>
            <pc:docMk/>
            <pc:sldMk cId="2238414157" sldId="2147376795"/>
            <ac:spMk id="7" creationId="{C7552047-F7CC-92A2-F727-A549303E7ABC}"/>
          </ac:spMkLst>
        </pc:spChg>
        <pc:spChg chg="add mod">
          <ac:chgData name="Clark, Connie" userId="73351e60-ad32-4085-a232-1d9f9b189479" providerId="ADAL" clId="{5F87A5E2-C2A2-4F23-BC8C-28F7F5EA6CA7}" dt="2024-03-30T20:37:50.832" v="13785" actId="1076"/>
          <ac:spMkLst>
            <pc:docMk/>
            <pc:sldMk cId="2238414157" sldId="2147376795"/>
            <ac:spMk id="8" creationId="{303FFD5B-BD53-F4C0-F755-CDC5F5927036}"/>
          </ac:spMkLst>
        </pc:spChg>
        <pc:spChg chg="add del mod">
          <ac:chgData name="Clark, Connie" userId="73351e60-ad32-4085-a232-1d9f9b189479" providerId="ADAL" clId="{5F87A5E2-C2A2-4F23-BC8C-28F7F5EA6CA7}" dt="2024-03-31T01:56:41.869" v="17688" actId="478"/>
          <ac:spMkLst>
            <pc:docMk/>
            <pc:sldMk cId="2238414157" sldId="2147376795"/>
            <ac:spMk id="9" creationId="{9EF17B60-9B24-9D5E-24A7-609E4DE8F8C0}"/>
          </ac:spMkLst>
        </pc:spChg>
        <pc:spChg chg="add mod">
          <ac:chgData name="Clark, Connie" userId="73351e60-ad32-4085-a232-1d9f9b189479" providerId="ADAL" clId="{5F87A5E2-C2A2-4F23-BC8C-28F7F5EA6CA7}" dt="2024-03-30T20:37:53.349" v="13786" actId="1076"/>
          <ac:spMkLst>
            <pc:docMk/>
            <pc:sldMk cId="2238414157" sldId="2147376795"/>
            <ac:spMk id="10" creationId="{17627EDB-0612-7145-9A80-6401EA034C93}"/>
          </ac:spMkLst>
        </pc:spChg>
        <pc:spChg chg="add mod">
          <ac:chgData name="Clark, Connie" userId="73351e60-ad32-4085-a232-1d9f9b189479" providerId="ADAL" clId="{5F87A5E2-C2A2-4F23-BC8C-28F7F5EA6CA7}" dt="2024-03-31T01:56:43.362" v="17689"/>
          <ac:spMkLst>
            <pc:docMk/>
            <pc:sldMk cId="2238414157" sldId="2147376795"/>
            <ac:spMk id="11" creationId="{C9E78E6B-AAD3-912F-2EC4-57B4D6F95676}"/>
          </ac:spMkLst>
        </pc:spChg>
        <pc:spChg chg="add del mod">
          <ac:chgData name="Clark, Connie" userId="73351e60-ad32-4085-a232-1d9f9b189479" providerId="ADAL" clId="{5F87A5E2-C2A2-4F23-BC8C-28F7F5EA6CA7}" dt="2024-03-31T02:03:47.791" v="17942" actId="478"/>
          <ac:spMkLst>
            <pc:docMk/>
            <pc:sldMk cId="2238414157" sldId="2147376795"/>
            <ac:spMk id="12" creationId="{771AC444-927D-7E6D-A38C-E1C1D8CC2B75}"/>
          </ac:spMkLst>
        </pc:spChg>
        <pc:spChg chg="add mod">
          <ac:chgData name="Clark, Connie" userId="73351e60-ad32-4085-a232-1d9f9b189479" providerId="ADAL" clId="{5F87A5E2-C2A2-4F23-BC8C-28F7F5EA6CA7}" dt="2024-03-31T01:56:43.362" v="17689"/>
          <ac:spMkLst>
            <pc:docMk/>
            <pc:sldMk cId="2238414157" sldId="2147376795"/>
            <ac:spMk id="13" creationId="{46B2A921-B691-950A-ADB2-C58BD12183A8}"/>
          </ac:spMkLst>
        </pc:spChg>
        <pc:spChg chg="mod">
          <ac:chgData name="Clark, Connie" userId="73351e60-ad32-4085-a232-1d9f9b189479" providerId="ADAL" clId="{5F87A5E2-C2A2-4F23-BC8C-28F7F5EA6CA7}" dt="2024-03-25T04:12:31.151" v="4027" actId="20577"/>
          <ac:spMkLst>
            <pc:docMk/>
            <pc:sldMk cId="2238414157" sldId="2147376795"/>
            <ac:spMk id="13" creationId="{6453CB8F-D437-AB31-1471-1B424513D2BD}"/>
          </ac:spMkLst>
        </pc:spChg>
        <pc:spChg chg="add del mod">
          <ac:chgData name="Clark, Connie" userId="73351e60-ad32-4085-a232-1d9f9b189479" providerId="ADAL" clId="{5F87A5E2-C2A2-4F23-BC8C-28F7F5EA6CA7}" dt="2024-03-31T02:03:47.791" v="17942" actId="478"/>
          <ac:spMkLst>
            <pc:docMk/>
            <pc:sldMk cId="2238414157" sldId="2147376795"/>
            <ac:spMk id="14" creationId="{A78DD66A-4776-D964-B259-FBBDE86340E5}"/>
          </ac:spMkLst>
        </pc:spChg>
        <pc:spChg chg="add mod">
          <ac:chgData name="Clark, Connie" userId="73351e60-ad32-4085-a232-1d9f9b189479" providerId="ADAL" clId="{5F87A5E2-C2A2-4F23-BC8C-28F7F5EA6CA7}" dt="2024-03-31T02:01:45.914" v="17928" actId="14100"/>
          <ac:spMkLst>
            <pc:docMk/>
            <pc:sldMk cId="2238414157" sldId="2147376795"/>
            <ac:spMk id="16" creationId="{E119CCDF-BB0D-68AF-9EA9-E66007C90765}"/>
          </ac:spMkLst>
        </pc:spChg>
        <pc:spChg chg="add mod">
          <ac:chgData name="Clark, Connie" userId="73351e60-ad32-4085-a232-1d9f9b189479" providerId="ADAL" clId="{5F87A5E2-C2A2-4F23-BC8C-28F7F5EA6CA7}" dt="2024-03-31T02:03:34.291" v="17939"/>
          <ac:spMkLst>
            <pc:docMk/>
            <pc:sldMk cId="2238414157" sldId="2147376795"/>
            <ac:spMk id="17" creationId="{9ADA6216-70E3-B5ED-2DB7-84DDFFD415E0}"/>
          </ac:spMkLst>
        </pc:spChg>
        <pc:spChg chg="add mod">
          <ac:chgData name="Clark, Connie" userId="73351e60-ad32-4085-a232-1d9f9b189479" providerId="ADAL" clId="{5F87A5E2-C2A2-4F23-BC8C-28F7F5EA6CA7}" dt="2024-03-31T01:59:11.908" v="17705" actId="208"/>
          <ac:spMkLst>
            <pc:docMk/>
            <pc:sldMk cId="2238414157" sldId="2147376795"/>
            <ac:spMk id="18" creationId="{9566FA9A-6E78-5BEA-1943-78F49FA8D4AE}"/>
          </ac:spMkLst>
        </pc:spChg>
        <pc:spChg chg="del mod">
          <ac:chgData name="Clark, Connie" userId="73351e60-ad32-4085-a232-1d9f9b189479" providerId="ADAL" clId="{5F87A5E2-C2A2-4F23-BC8C-28F7F5EA6CA7}" dt="2024-03-31T01:56:33.421" v="17686" actId="478"/>
          <ac:spMkLst>
            <pc:docMk/>
            <pc:sldMk cId="2238414157" sldId="2147376795"/>
            <ac:spMk id="19" creationId="{EB1B145D-C6D0-7636-B993-3B67735A0205}"/>
          </ac:spMkLst>
        </pc:spChg>
        <pc:spChg chg="add mod">
          <ac:chgData name="Clark, Connie" userId="73351e60-ad32-4085-a232-1d9f9b189479" providerId="ADAL" clId="{5F87A5E2-C2A2-4F23-BC8C-28F7F5EA6CA7}" dt="2024-03-31T02:56:04.838" v="18597"/>
          <ac:spMkLst>
            <pc:docMk/>
            <pc:sldMk cId="2238414157" sldId="2147376795"/>
            <ac:spMk id="20" creationId="{4C2BA7D3-310E-095F-1ECF-EBDD9A3F1539}"/>
          </ac:spMkLst>
        </pc:spChg>
        <pc:spChg chg="add del mod">
          <ac:chgData name="Clark, Connie" userId="73351e60-ad32-4085-a232-1d9f9b189479" providerId="ADAL" clId="{5F87A5E2-C2A2-4F23-BC8C-28F7F5EA6CA7}" dt="2024-03-31T02:03:44.459" v="17941" actId="478"/>
          <ac:spMkLst>
            <pc:docMk/>
            <pc:sldMk cId="2238414157" sldId="2147376795"/>
            <ac:spMk id="21" creationId="{A025BD16-AEBD-843B-25B8-C305B0346D8E}"/>
          </ac:spMkLst>
        </pc:spChg>
        <pc:spChg chg="del mod">
          <ac:chgData name="Clark, Connie" userId="73351e60-ad32-4085-a232-1d9f9b189479" providerId="ADAL" clId="{5F87A5E2-C2A2-4F23-BC8C-28F7F5EA6CA7}" dt="2024-03-30T20:36:54.309" v="13777" actId="478"/>
          <ac:spMkLst>
            <pc:docMk/>
            <pc:sldMk cId="2238414157" sldId="2147376795"/>
            <ac:spMk id="21" creationId="{B3D4CB30-715B-E29B-DF50-18ACA0123CD0}"/>
          </ac:spMkLst>
        </pc:spChg>
        <pc:spChg chg="add del mod">
          <ac:chgData name="Clark, Connie" userId="73351e60-ad32-4085-a232-1d9f9b189479" providerId="ADAL" clId="{5F87A5E2-C2A2-4F23-BC8C-28F7F5EA6CA7}" dt="2024-03-30T20:40:47.438" v="13808" actId="478"/>
          <ac:spMkLst>
            <pc:docMk/>
            <pc:sldMk cId="2238414157" sldId="2147376795"/>
            <ac:spMk id="23" creationId="{3B0955F9-CD2F-9829-AF72-D1BEAD7ED867}"/>
          </ac:spMkLst>
        </pc:spChg>
        <pc:spChg chg="add del mod">
          <ac:chgData name="Clark, Connie" userId="73351e60-ad32-4085-a232-1d9f9b189479" providerId="ADAL" clId="{5F87A5E2-C2A2-4F23-BC8C-28F7F5EA6CA7}" dt="2024-03-31T02:03:51.126" v="17944" actId="478"/>
          <ac:spMkLst>
            <pc:docMk/>
            <pc:sldMk cId="2238414157" sldId="2147376795"/>
            <ac:spMk id="23" creationId="{8A0236CF-ED59-A5FB-98D2-6C2266F7BE27}"/>
          </ac:spMkLst>
        </pc:spChg>
        <pc:spChg chg="add del mod">
          <ac:chgData name="Clark, Connie" userId="73351e60-ad32-4085-a232-1d9f9b189479" providerId="ADAL" clId="{5F87A5E2-C2A2-4F23-BC8C-28F7F5EA6CA7}" dt="2024-03-31T02:03:49.178" v="17943" actId="478"/>
          <ac:spMkLst>
            <pc:docMk/>
            <pc:sldMk cId="2238414157" sldId="2147376795"/>
            <ac:spMk id="25" creationId="{11A0DDA8-56DD-3F56-2E98-EA5C17E6338D}"/>
          </ac:spMkLst>
        </pc:spChg>
        <pc:spChg chg="del">
          <ac:chgData name="Clark, Connie" userId="73351e60-ad32-4085-a232-1d9f9b189479" providerId="ADAL" clId="{5F87A5E2-C2A2-4F23-BC8C-28F7F5EA6CA7}" dt="2024-03-30T20:22:09.541" v="13673" actId="478"/>
          <ac:spMkLst>
            <pc:docMk/>
            <pc:sldMk cId="2238414157" sldId="2147376795"/>
            <ac:spMk id="25" creationId="{F8B8A1FD-74CC-5DE6-9474-69B5F740CDA2}"/>
          </ac:spMkLst>
        </pc:spChg>
        <pc:spChg chg="del">
          <ac:chgData name="Clark, Connie" userId="73351e60-ad32-4085-a232-1d9f9b189479" providerId="ADAL" clId="{5F87A5E2-C2A2-4F23-BC8C-28F7F5EA6CA7}" dt="2024-03-30T20:22:09.541" v="13673" actId="478"/>
          <ac:spMkLst>
            <pc:docMk/>
            <pc:sldMk cId="2238414157" sldId="2147376795"/>
            <ac:spMk id="26" creationId="{58E858EA-E162-A77E-B7D4-7A58DE2D54D1}"/>
          </ac:spMkLst>
        </pc:spChg>
        <pc:spChg chg="add mod">
          <ac:chgData name="Clark, Connie" userId="73351e60-ad32-4085-a232-1d9f9b189479" providerId="ADAL" clId="{5F87A5E2-C2A2-4F23-BC8C-28F7F5EA6CA7}" dt="2024-03-31T02:04:05.683" v="17945"/>
          <ac:spMkLst>
            <pc:docMk/>
            <pc:sldMk cId="2238414157" sldId="2147376795"/>
            <ac:spMk id="26" creationId="{94114D00-87C8-AAD6-DF78-1BCAAF9E984D}"/>
          </ac:spMkLst>
        </pc:spChg>
        <pc:spChg chg="add del mod">
          <ac:chgData name="Clark, Connie" userId="73351e60-ad32-4085-a232-1d9f9b189479" providerId="ADAL" clId="{5F87A5E2-C2A2-4F23-BC8C-28F7F5EA6CA7}" dt="2024-03-30T20:40:05.483" v="13798" actId="478"/>
          <ac:spMkLst>
            <pc:docMk/>
            <pc:sldMk cId="2238414157" sldId="2147376795"/>
            <ac:spMk id="27" creationId="{28AC79EE-C495-20E1-1EA3-14D41626F753}"/>
          </ac:spMkLst>
        </pc:spChg>
        <pc:spChg chg="add mod">
          <ac:chgData name="Clark, Connie" userId="73351e60-ad32-4085-a232-1d9f9b189479" providerId="ADAL" clId="{5F87A5E2-C2A2-4F23-BC8C-28F7F5EA6CA7}" dt="2024-03-31T02:04:18.407" v="17946"/>
          <ac:spMkLst>
            <pc:docMk/>
            <pc:sldMk cId="2238414157" sldId="2147376795"/>
            <ac:spMk id="27" creationId="{609D5551-A9CA-A685-7513-B469E6105B7C}"/>
          </ac:spMkLst>
        </pc:spChg>
        <pc:spChg chg="add del mod">
          <ac:chgData name="Clark, Connie" userId="73351e60-ad32-4085-a232-1d9f9b189479" providerId="ADAL" clId="{5F87A5E2-C2A2-4F23-BC8C-28F7F5EA6CA7}" dt="2024-03-30T20:44:04.781" v="13836" actId="478"/>
          <ac:spMkLst>
            <pc:docMk/>
            <pc:sldMk cId="2238414157" sldId="2147376795"/>
            <ac:spMk id="28" creationId="{CC610C9B-7C44-A6CF-EA0F-D36DCF2D317D}"/>
          </ac:spMkLst>
        </pc:spChg>
        <pc:spChg chg="add mod">
          <ac:chgData name="Clark, Connie" userId="73351e60-ad32-4085-a232-1d9f9b189479" providerId="ADAL" clId="{5F87A5E2-C2A2-4F23-BC8C-28F7F5EA6CA7}" dt="2024-03-31T02:04:18.407" v="17946"/>
          <ac:spMkLst>
            <pc:docMk/>
            <pc:sldMk cId="2238414157" sldId="2147376795"/>
            <ac:spMk id="28" creationId="{D09AFDA6-DDAF-5ECF-1900-D6F383D1B323}"/>
          </ac:spMkLst>
        </pc:spChg>
        <pc:spChg chg="add del mod">
          <ac:chgData name="Clark, Connie" userId="73351e60-ad32-4085-a232-1d9f9b189479" providerId="ADAL" clId="{5F87A5E2-C2A2-4F23-BC8C-28F7F5EA6CA7}" dt="2024-03-30T20:40:18.874" v="13801" actId="478"/>
          <ac:spMkLst>
            <pc:docMk/>
            <pc:sldMk cId="2238414157" sldId="2147376795"/>
            <ac:spMk id="29" creationId="{6FC49589-1DAD-AB39-795C-9E927E542F30}"/>
          </ac:spMkLst>
        </pc:spChg>
        <pc:spChg chg="add del mod">
          <ac:chgData name="Clark, Connie" userId="73351e60-ad32-4085-a232-1d9f9b189479" providerId="ADAL" clId="{5F87A5E2-C2A2-4F23-BC8C-28F7F5EA6CA7}" dt="2024-03-30T20:40:20.817" v="13802" actId="478"/>
          <ac:spMkLst>
            <pc:docMk/>
            <pc:sldMk cId="2238414157" sldId="2147376795"/>
            <ac:spMk id="30" creationId="{62ECB785-3F09-E7C8-C36F-6A64D2DC23F8}"/>
          </ac:spMkLst>
        </pc:spChg>
        <pc:spChg chg="add mod">
          <ac:chgData name="Clark, Connie" userId="73351e60-ad32-4085-a232-1d9f9b189479" providerId="ADAL" clId="{5F87A5E2-C2A2-4F23-BC8C-28F7F5EA6CA7}" dt="2024-03-30T23:38:41.336" v="15858" actId="1036"/>
          <ac:spMkLst>
            <pc:docMk/>
            <pc:sldMk cId="2238414157" sldId="2147376795"/>
            <ac:spMk id="31" creationId="{AC2029A0-53B9-6600-C447-297A61A80D94}"/>
          </ac:spMkLst>
        </pc:spChg>
        <pc:spChg chg="add del mod">
          <ac:chgData name="Clark, Connie" userId="73351e60-ad32-4085-a232-1d9f9b189479" providerId="ADAL" clId="{5F87A5E2-C2A2-4F23-BC8C-28F7F5EA6CA7}" dt="2024-03-30T20:40:26.186" v="13804" actId="478"/>
          <ac:spMkLst>
            <pc:docMk/>
            <pc:sldMk cId="2238414157" sldId="2147376795"/>
            <ac:spMk id="32" creationId="{A13E3E0B-B9D9-9D7F-4DD5-CEDCE60641D2}"/>
          </ac:spMkLst>
        </pc:spChg>
        <pc:spChg chg="add del mod">
          <ac:chgData name="Clark, Connie" userId="73351e60-ad32-4085-a232-1d9f9b189479" providerId="ADAL" clId="{5F87A5E2-C2A2-4F23-BC8C-28F7F5EA6CA7}" dt="2024-03-30T20:40:21.833" v="13803" actId="478"/>
          <ac:spMkLst>
            <pc:docMk/>
            <pc:sldMk cId="2238414157" sldId="2147376795"/>
            <ac:spMk id="33" creationId="{5BD3F028-16CA-993F-8A18-AE907626E859}"/>
          </ac:spMkLst>
        </pc:spChg>
        <pc:spChg chg="add del mod">
          <ac:chgData name="Clark, Connie" userId="73351e60-ad32-4085-a232-1d9f9b189479" providerId="ADAL" clId="{5F87A5E2-C2A2-4F23-BC8C-28F7F5EA6CA7}" dt="2024-03-30T21:10:00.137" v="13954" actId="478"/>
          <ac:spMkLst>
            <pc:docMk/>
            <pc:sldMk cId="2238414157" sldId="2147376795"/>
            <ac:spMk id="34" creationId="{FB974FBC-6273-8FB6-D032-BDBB9282D14F}"/>
          </ac:spMkLst>
        </pc:spChg>
        <pc:spChg chg="add del mod">
          <ac:chgData name="Clark, Connie" userId="73351e60-ad32-4085-a232-1d9f9b189479" providerId="ADAL" clId="{5F87A5E2-C2A2-4F23-BC8C-28F7F5EA6CA7}" dt="2024-03-30T23:08:36.246" v="15629" actId="478"/>
          <ac:spMkLst>
            <pc:docMk/>
            <pc:sldMk cId="2238414157" sldId="2147376795"/>
            <ac:spMk id="35" creationId="{1C630E4A-0EEB-B71C-85A2-BCCC553D60C3}"/>
          </ac:spMkLst>
        </pc:spChg>
        <pc:spChg chg="add mod">
          <ac:chgData name="Clark, Connie" userId="73351e60-ad32-4085-a232-1d9f9b189479" providerId="ADAL" clId="{5F87A5E2-C2A2-4F23-BC8C-28F7F5EA6CA7}" dt="2024-03-30T23:30:20.487" v="15796" actId="2"/>
          <ac:spMkLst>
            <pc:docMk/>
            <pc:sldMk cId="2238414157" sldId="2147376795"/>
            <ac:spMk id="36" creationId="{9C2F972E-6037-77FD-7291-675AA97E9ACC}"/>
          </ac:spMkLst>
        </pc:spChg>
        <pc:spChg chg="add del mod">
          <ac:chgData name="Clark, Connie" userId="73351e60-ad32-4085-a232-1d9f9b189479" providerId="ADAL" clId="{5F87A5E2-C2A2-4F23-BC8C-28F7F5EA6CA7}" dt="2024-03-30T21:09:35.827" v="13924" actId="478"/>
          <ac:spMkLst>
            <pc:docMk/>
            <pc:sldMk cId="2238414157" sldId="2147376795"/>
            <ac:spMk id="37" creationId="{42FF8507-0B19-939B-6351-03632F346BE8}"/>
          </ac:spMkLst>
        </pc:spChg>
        <pc:spChg chg="add del mod">
          <ac:chgData name="Clark, Connie" userId="73351e60-ad32-4085-a232-1d9f9b189479" providerId="ADAL" clId="{5F87A5E2-C2A2-4F23-BC8C-28F7F5EA6CA7}" dt="2024-03-30T21:03:26.384" v="13911" actId="478"/>
          <ac:spMkLst>
            <pc:docMk/>
            <pc:sldMk cId="2238414157" sldId="2147376795"/>
            <ac:spMk id="38" creationId="{7E41C947-552F-AD7C-3A98-261F3CDDE769}"/>
          </ac:spMkLst>
        </pc:spChg>
        <pc:spChg chg="add del mod">
          <ac:chgData name="Clark, Connie" userId="73351e60-ad32-4085-a232-1d9f9b189479" providerId="ADAL" clId="{5F87A5E2-C2A2-4F23-BC8C-28F7F5EA6CA7}" dt="2024-03-30T20:51:11.816" v="13856" actId="478"/>
          <ac:spMkLst>
            <pc:docMk/>
            <pc:sldMk cId="2238414157" sldId="2147376795"/>
            <ac:spMk id="40" creationId="{5F547562-1F7D-6057-DFCF-D4D3E8F3BC6F}"/>
          </ac:spMkLst>
        </pc:spChg>
        <pc:spChg chg="add del mod">
          <ac:chgData name="Clark, Connie" userId="73351e60-ad32-4085-a232-1d9f9b189479" providerId="ADAL" clId="{5F87A5E2-C2A2-4F23-BC8C-28F7F5EA6CA7}" dt="2024-03-30T20:49:57.096" v="13849" actId="478"/>
          <ac:spMkLst>
            <pc:docMk/>
            <pc:sldMk cId="2238414157" sldId="2147376795"/>
            <ac:spMk id="41" creationId="{CCFF0C9A-5151-6D18-BB6C-0331FA841E69}"/>
          </ac:spMkLst>
        </pc:spChg>
        <pc:spChg chg="add mod">
          <ac:chgData name="Clark, Connie" userId="73351e60-ad32-4085-a232-1d9f9b189479" providerId="ADAL" clId="{5F87A5E2-C2A2-4F23-BC8C-28F7F5EA6CA7}" dt="2024-03-31T02:01:26.897" v="17924" actId="1076"/>
          <ac:spMkLst>
            <pc:docMk/>
            <pc:sldMk cId="2238414157" sldId="2147376795"/>
            <ac:spMk id="42" creationId="{03B4A72B-5308-391C-4C32-25A7163D1513}"/>
          </ac:spMkLst>
        </pc:spChg>
        <pc:spChg chg="add mod">
          <ac:chgData name="Clark, Connie" userId="73351e60-ad32-4085-a232-1d9f9b189479" providerId="ADAL" clId="{5F87A5E2-C2A2-4F23-BC8C-28F7F5EA6CA7}" dt="2024-03-31T02:01:36.440" v="17925" actId="1076"/>
          <ac:spMkLst>
            <pc:docMk/>
            <pc:sldMk cId="2238414157" sldId="2147376795"/>
            <ac:spMk id="43" creationId="{62CCA129-9B6A-E7D1-D085-78D1887FBBEF}"/>
          </ac:spMkLst>
        </pc:spChg>
        <pc:spChg chg="add del mod">
          <ac:chgData name="Clark, Connie" userId="73351e60-ad32-4085-a232-1d9f9b189479" providerId="ADAL" clId="{5F87A5E2-C2A2-4F23-BC8C-28F7F5EA6CA7}" dt="2024-03-31T01:57:59.858" v="17695" actId="478"/>
          <ac:spMkLst>
            <pc:docMk/>
            <pc:sldMk cId="2238414157" sldId="2147376795"/>
            <ac:spMk id="44" creationId="{4B755282-67E3-CAE5-AD2F-998B4011C653}"/>
          </ac:spMkLst>
        </pc:spChg>
        <pc:spChg chg="add mod">
          <ac:chgData name="Clark, Connie" userId="73351e60-ad32-4085-a232-1d9f9b189479" providerId="ADAL" clId="{5F87A5E2-C2A2-4F23-BC8C-28F7F5EA6CA7}" dt="2024-03-30T23:38:37.900" v="15857" actId="1036"/>
          <ac:spMkLst>
            <pc:docMk/>
            <pc:sldMk cId="2238414157" sldId="2147376795"/>
            <ac:spMk id="45" creationId="{C670E5F9-2FE4-D8DC-2DDB-5BD2D7832F48}"/>
          </ac:spMkLst>
        </pc:spChg>
        <pc:spChg chg="add mod">
          <ac:chgData name="Clark, Connie" userId="73351e60-ad32-4085-a232-1d9f9b189479" providerId="ADAL" clId="{5F87A5E2-C2A2-4F23-BC8C-28F7F5EA6CA7}" dt="2024-03-30T21:10:09.540" v="13955" actId="1076"/>
          <ac:spMkLst>
            <pc:docMk/>
            <pc:sldMk cId="2238414157" sldId="2147376795"/>
            <ac:spMk id="46" creationId="{322F103E-4649-50C0-4B63-A1E410B200B9}"/>
          </ac:spMkLst>
        </pc:spChg>
        <pc:spChg chg="add mod">
          <ac:chgData name="Clark, Connie" userId="73351e60-ad32-4085-a232-1d9f9b189479" providerId="ADAL" clId="{5F87A5E2-C2A2-4F23-BC8C-28F7F5EA6CA7}" dt="2024-03-30T21:15:13.038" v="13966" actId="1076"/>
          <ac:spMkLst>
            <pc:docMk/>
            <pc:sldMk cId="2238414157" sldId="2147376795"/>
            <ac:spMk id="47" creationId="{E611C04E-1912-B2D9-E040-721797A22F45}"/>
          </ac:spMkLst>
        </pc:spChg>
        <pc:spChg chg="add del mod">
          <ac:chgData name="Clark, Connie" userId="73351e60-ad32-4085-a232-1d9f9b189479" providerId="ADAL" clId="{5F87A5E2-C2A2-4F23-BC8C-28F7F5EA6CA7}" dt="2024-03-30T21:15:29.733" v="13968" actId="478"/>
          <ac:spMkLst>
            <pc:docMk/>
            <pc:sldMk cId="2238414157" sldId="2147376795"/>
            <ac:spMk id="48" creationId="{2CDC45AB-A4E9-49D3-4DEC-84E6EEE01778}"/>
          </ac:spMkLst>
        </pc:spChg>
        <pc:spChg chg="add mod">
          <ac:chgData name="Clark, Connie" userId="73351e60-ad32-4085-a232-1d9f9b189479" providerId="ADAL" clId="{5F87A5E2-C2A2-4F23-BC8C-28F7F5EA6CA7}" dt="2024-03-31T02:05:24.883" v="17949" actId="1076"/>
          <ac:spMkLst>
            <pc:docMk/>
            <pc:sldMk cId="2238414157" sldId="2147376795"/>
            <ac:spMk id="49" creationId="{7A402139-B65E-62F0-1620-76AFFBC9F790}"/>
          </ac:spMkLst>
        </pc:spChg>
        <pc:spChg chg="add del mod">
          <ac:chgData name="Clark, Connie" userId="73351e60-ad32-4085-a232-1d9f9b189479" providerId="ADAL" clId="{5F87A5E2-C2A2-4F23-BC8C-28F7F5EA6CA7}" dt="2024-03-30T23:10:08.410" v="15655" actId="478"/>
          <ac:spMkLst>
            <pc:docMk/>
            <pc:sldMk cId="2238414157" sldId="2147376795"/>
            <ac:spMk id="50" creationId="{55AE1059-DD91-2325-6E6F-F2E20A26C964}"/>
          </ac:spMkLst>
        </pc:spChg>
        <pc:spChg chg="add del mod">
          <ac:chgData name="Clark, Connie" userId="73351e60-ad32-4085-a232-1d9f9b189479" providerId="ADAL" clId="{5F87A5E2-C2A2-4F23-BC8C-28F7F5EA6CA7}" dt="2024-03-30T23:10:08.410" v="15655" actId="478"/>
          <ac:spMkLst>
            <pc:docMk/>
            <pc:sldMk cId="2238414157" sldId="2147376795"/>
            <ac:spMk id="51" creationId="{8DF6C818-BEF9-9E33-0BE2-0654A6AA9993}"/>
          </ac:spMkLst>
        </pc:spChg>
        <pc:spChg chg="add del mod">
          <ac:chgData name="Clark, Connie" userId="73351e60-ad32-4085-a232-1d9f9b189479" providerId="ADAL" clId="{5F87A5E2-C2A2-4F23-BC8C-28F7F5EA6CA7}" dt="2024-03-30T23:10:08.410" v="15655" actId="478"/>
          <ac:spMkLst>
            <pc:docMk/>
            <pc:sldMk cId="2238414157" sldId="2147376795"/>
            <ac:spMk id="52" creationId="{9BAB6C7D-1D36-598F-FCFE-D6CF9E375517}"/>
          </ac:spMkLst>
        </pc:spChg>
        <pc:spChg chg="add mod">
          <ac:chgData name="Clark, Connie" userId="73351e60-ad32-4085-a232-1d9f9b189479" providerId="ADAL" clId="{5F87A5E2-C2A2-4F23-BC8C-28F7F5EA6CA7}" dt="2024-03-31T03:14:01.839" v="18703" actId="20577"/>
          <ac:spMkLst>
            <pc:docMk/>
            <pc:sldMk cId="2238414157" sldId="2147376795"/>
            <ac:spMk id="53" creationId="{09082E4E-ED30-74B7-C6F8-DF468D0648D5}"/>
          </ac:spMkLst>
        </pc:spChg>
        <pc:spChg chg="add del mod">
          <ac:chgData name="Clark, Connie" userId="73351e60-ad32-4085-a232-1d9f9b189479" providerId="ADAL" clId="{5F87A5E2-C2A2-4F23-BC8C-28F7F5EA6CA7}" dt="2024-03-30T23:09:14.681" v="15636" actId="478"/>
          <ac:spMkLst>
            <pc:docMk/>
            <pc:sldMk cId="2238414157" sldId="2147376795"/>
            <ac:spMk id="54" creationId="{02666FEE-F04C-9AF9-1AAE-C4507C932756}"/>
          </ac:spMkLst>
        </pc:spChg>
        <pc:spChg chg="add mod">
          <ac:chgData name="Clark, Connie" userId="73351e60-ad32-4085-a232-1d9f9b189479" providerId="ADAL" clId="{5F87A5E2-C2A2-4F23-BC8C-28F7F5EA6CA7}" dt="2024-03-30T23:40:48.671" v="15871"/>
          <ac:spMkLst>
            <pc:docMk/>
            <pc:sldMk cId="2238414157" sldId="2147376795"/>
            <ac:spMk id="55" creationId="{57E23A33-7F1B-C509-5429-F5906CC773B2}"/>
          </ac:spMkLst>
        </pc:spChg>
        <pc:spChg chg="add del mod">
          <ac:chgData name="Clark, Connie" userId="73351e60-ad32-4085-a232-1d9f9b189479" providerId="ADAL" clId="{5F87A5E2-C2A2-4F23-BC8C-28F7F5EA6CA7}" dt="2024-03-31T01:56:33.421" v="17686" actId="478"/>
          <ac:spMkLst>
            <pc:docMk/>
            <pc:sldMk cId="2238414157" sldId="2147376795"/>
            <ac:spMk id="56" creationId="{7D037984-9833-5A4E-717C-0E5860499548}"/>
          </ac:spMkLst>
        </pc:spChg>
        <pc:grpChg chg="del">
          <ac:chgData name="Clark, Connie" userId="73351e60-ad32-4085-a232-1d9f9b189479" providerId="ADAL" clId="{5F87A5E2-C2A2-4F23-BC8C-28F7F5EA6CA7}" dt="2024-03-30T20:22:09.541" v="13673" actId="478"/>
          <ac:grpSpMkLst>
            <pc:docMk/>
            <pc:sldMk cId="2238414157" sldId="2147376795"/>
            <ac:grpSpMk id="12" creationId="{27980886-393E-E544-AFA0-98EFD967587F}"/>
          </ac:grpSpMkLst>
        </pc:grpChg>
        <pc:picChg chg="add mod">
          <ac:chgData name="Clark, Connie" userId="73351e60-ad32-4085-a232-1d9f9b189479" providerId="ADAL" clId="{5F87A5E2-C2A2-4F23-BC8C-28F7F5EA6CA7}" dt="2024-03-31T01:58:05.787" v="17698" actId="1076"/>
          <ac:picMkLst>
            <pc:docMk/>
            <pc:sldMk cId="2238414157" sldId="2147376795"/>
            <ac:picMk id="3" creationId="{03AD51FF-7D6B-E7AD-C473-5FEDBDD05C68}"/>
          </ac:picMkLst>
        </pc:picChg>
        <pc:picChg chg="add mod">
          <ac:chgData name="Clark, Connie" userId="73351e60-ad32-4085-a232-1d9f9b189479" providerId="ADAL" clId="{5F87A5E2-C2A2-4F23-BC8C-28F7F5EA6CA7}" dt="2024-03-31T02:53:58.406" v="18578" actId="1076"/>
          <ac:picMkLst>
            <pc:docMk/>
            <pc:sldMk cId="2238414157" sldId="2147376795"/>
            <ac:picMk id="22" creationId="{BA7D4AF0-9A11-5E28-89EA-499AC6259A73}"/>
          </ac:picMkLst>
        </pc:picChg>
        <pc:picChg chg="add mod">
          <ac:chgData name="Clark, Connie" userId="73351e60-ad32-4085-a232-1d9f9b189479" providerId="ADAL" clId="{5F87A5E2-C2A2-4F23-BC8C-28F7F5EA6CA7}" dt="2024-03-31T02:53:56.257" v="18577" actId="1076"/>
          <ac:picMkLst>
            <pc:docMk/>
            <pc:sldMk cId="2238414157" sldId="2147376795"/>
            <ac:picMk id="24" creationId="{BD8CD434-A5A7-BB76-BD44-CC6ABABF16FE}"/>
          </ac:picMkLst>
        </pc:picChg>
        <pc:picChg chg="add del mod">
          <ac:chgData name="Clark, Connie" userId="73351e60-ad32-4085-a232-1d9f9b189479" providerId="ADAL" clId="{5F87A5E2-C2A2-4F23-BC8C-28F7F5EA6CA7}" dt="2024-03-31T02:11:03.208" v="17986" actId="478"/>
          <ac:picMkLst>
            <pc:docMk/>
            <pc:sldMk cId="2238414157" sldId="2147376795"/>
            <ac:picMk id="30" creationId="{C8AE37D3-9A57-A2A8-F70F-269ABB28F431}"/>
          </ac:picMkLst>
        </pc:picChg>
        <pc:cxnChg chg="del mod">
          <ac:chgData name="Clark, Connie" userId="73351e60-ad32-4085-a232-1d9f9b189479" providerId="ADAL" clId="{5F87A5E2-C2A2-4F23-BC8C-28F7F5EA6CA7}" dt="2024-03-30T22:46:01.338" v="15471" actId="478"/>
          <ac:cxnSpMkLst>
            <pc:docMk/>
            <pc:sldMk cId="2238414157" sldId="2147376795"/>
            <ac:cxnSpMk id="7" creationId="{85D1103F-6D11-B879-0659-00B1A64C52F1}"/>
          </ac:cxnSpMkLst>
        </pc:cxnChg>
        <pc:cxnChg chg="del mod">
          <ac:chgData name="Clark, Connie" userId="73351e60-ad32-4085-a232-1d9f9b189479" providerId="ADAL" clId="{5F87A5E2-C2A2-4F23-BC8C-28F7F5EA6CA7}" dt="2024-03-30T22:46:01.338" v="15471" actId="478"/>
          <ac:cxnSpMkLst>
            <pc:docMk/>
            <pc:sldMk cId="2238414157" sldId="2147376795"/>
            <ac:cxnSpMk id="9" creationId="{26362CCB-3D61-6D87-535C-BBA0B0C11BCA}"/>
          </ac:cxnSpMkLst>
        </pc:cxnChg>
        <pc:cxnChg chg="add del mod">
          <ac:chgData name="Clark, Connie" userId="73351e60-ad32-4085-a232-1d9f9b189479" providerId="ADAL" clId="{5F87A5E2-C2A2-4F23-BC8C-28F7F5EA6CA7}" dt="2024-03-30T22:46:01.338" v="15471" actId="478"/>
          <ac:cxnSpMkLst>
            <pc:docMk/>
            <pc:sldMk cId="2238414157" sldId="2147376795"/>
            <ac:cxnSpMk id="11" creationId="{FFB4E1C6-10D3-89B5-F2ED-76E04BB1110C}"/>
          </ac:cxnSpMkLst>
        </pc:cxnChg>
        <pc:cxnChg chg="add del mod">
          <ac:chgData name="Clark, Connie" userId="73351e60-ad32-4085-a232-1d9f9b189479" providerId="ADAL" clId="{5F87A5E2-C2A2-4F23-BC8C-28F7F5EA6CA7}" dt="2024-03-30T22:46:01.338" v="15471" actId="478"/>
          <ac:cxnSpMkLst>
            <pc:docMk/>
            <pc:sldMk cId="2238414157" sldId="2147376795"/>
            <ac:cxnSpMk id="17" creationId="{938045FD-5966-67EE-8F3F-16B4250F6689}"/>
          </ac:cxnSpMkLst>
        </pc:cxnChg>
      </pc:sldChg>
      <pc:sldChg chg="add del">
        <pc:chgData name="Clark, Connie" userId="73351e60-ad32-4085-a232-1d9f9b189479" providerId="ADAL" clId="{5F87A5E2-C2A2-4F23-BC8C-28F7F5EA6CA7}" dt="2024-03-29T17:09:30.573" v="4457"/>
        <pc:sldMkLst>
          <pc:docMk/>
          <pc:sldMk cId="370357465" sldId="2147376796"/>
        </pc:sldMkLst>
      </pc:sldChg>
      <pc:sldChg chg="addSp delSp modSp add del mod">
        <pc:chgData name="Clark, Connie" userId="73351e60-ad32-4085-a232-1d9f9b189479" providerId="ADAL" clId="{5F87A5E2-C2A2-4F23-BC8C-28F7F5EA6CA7}" dt="2024-05-24T00:02:43.346" v="31034" actId="2696"/>
        <pc:sldMkLst>
          <pc:docMk/>
          <pc:sldMk cId="2983976513" sldId="2147376796"/>
        </pc:sldMkLst>
        <pc:spChg chg="add mod">
          <ac:chgData name="Clark, Connie" userId="73351e60-ad32-4085-a232-1d9f9b189479" providerId="ADAL" clId="{5F87A5E2-C2A2-4F23-BC8C-28F7F5EA6CA7}" dt="2024-03-29T23:18:42.943" v="8674" actId="14100"/>
          <ac:spMkLst>
            <pc:docMk/>
            <pc:sldMk cId="2983976513" sldId="2147376796"/>
            <ac:spMk id="2" creationId="{43E60B58-F9AB-EF1D-F918-1DD68E3EB78C}"/>
          </ac:spMkLst>
        </pc:spChg>
        <pc:spChg chg="del mod">
          <ac:chgData name="Clark, Connie" userId="73351e60-ad32-4085-a232-1d9f9b189479" providerId="ADAL" clId="{5F87A5E2-C2A2-4F23-BC8C-28F7F5EA6CA7}" dt="2024-03-29T23:24:48.949" v="8724" actId="478"/>
          <ac:spMkLst>
            <pc:docMk/>
            <pc:sldMk cId="2983976513" sldId="2147376796"/>
            <ac:spMk id="3" creationId="{9AFBF33D-ED8C-A6DE-E037-F533CE2052F2}"/>
          </ac:spMkLst>
        </pc:spChg>
        <pc:spChg chg="del mod">
          <ac:chgData name="Clark, Connie" userId="73351e60-ad32-4085-a232-1d9f9b189479" providerId="ADAL" clId="{5F87A5E2-C2A2-4F23-BC8C-28F7F5EA6CA7}" dt="2024-03-29T23:24:48.949" v="8724" actId="478"/>
          <ac:spMkLst>
            <pc:docMk/>
            <pc:sldMk cId="2983976513" sldId="2147376796"/>
            <ac:spMk id="4" creationId="{A4F4489F-E638-7273-86A5-F120A8F53A51}"/>
          </ac:spMkLst>
        </pc:spChg>
        <pc:spChg chg="add del mod">
          <ac:chgData name="Clark, Connie" userId="73351e60-ad32-4085-a232-1d9f9b189479" providerId="ADAL" clId="{5F87A5E2-C2A2-4F23-BC8C-28F7F5EA6CA7}" dt="2024-03-29T17:38:27.500" v="5952" actId="478"/>
          <ac:spMkLst>
            <pc:docMk/>
            <pc:sldMk cId="2983976513" sldId="2147376796"/>
            <ac:spMk id="5" creationId="{6A879DAC-EFCC-437B-3561-8A4372A7A367}"/>
          </ac:spMkLst>
        </pc:spChg>
        <pc:spChg chg="add del mod">
          <ac:chgData name="Clark, Connie" userId="73351e60-ad32-4085-a232-1d9f9b189479" providerId="ADAL" clId="{5F87A5E2-C2A2-4F23-BC8C-28F7F5EA6CA7}" dt="2024-03-29T23:19:36.251" v="8681" actId="478"/>
          <ac:spMkLst>
            <pc:docMk/>
            <pc:sldMk cId="2983976513" sldId="2147376796"/>
            <ac:spMk id="6" creationId="{5D93B9B3-44BB-F029-212B-0CDC0F6325FB}"/>
          </ac:spMkLst>
        </pc:spChg>
        <pc:spChg chg="add del mod">
          <ac:chgData name="Clark, Connie" userId="73351e60-ad32-4085-a232-1d9f9b189479" providerId="ADAL" clId="{5F87A5E2-C2A2-4F23-BC8C-28F7F5EA6CA7}" dt="2024-03-29T23:19:39.873" v="8682" actId="478"/>
          <ac:spMkLst>
            <pc:docMk/>
            <pc:sldMk cId="2983976513" sldId="2147376796"/>
            <ac:spMk id="7" creationId="{B6D6DBE2-DEF6-258E-2D82-A6CD02604BCA}"/>
          </ac:spMkLst>
        </pc:spChg>
        <pc:spChg chg="add del mod">
          <ac:chgData name="Clark, Connie" userId="73351e60-ad32-4085-a232-1d9f9b189479" providerId="ADAL" clId="{5F87A5E2-C2A2-4F23-BC8C-28F7F5EA6CA7}" dt="2024-03-29T23:27:07.838" v="8754" actId="478"/>
          <ac:spMkLst>
            <pc:docMk/>
            <pc:sldMk cId="2983976513" sldId="2147376796"/>
            <ac:spMk id="8" creationId="{AA440F3F-2CF2-93C4-F863-ACC2A47B46B1}"/>
          </ac:spMkLst>
        </pc:spChg>
        <pc:spChg chg="add del mod">
          <ac:chgData name="Clark, Connie" userId="73351e60-ad32-4085-a232-1d9f9b189479" providerId="ADAL" clId="{5F87A5E2-C2A2-4F23-BC8C-28F7F5EA6CA7}" dt="2024-03-29T23:27:07.838" v="8754" actId="478"/>
          <ac:spMkLst>
            <pc:docMk/>
            <pc:sldMk cId="2983976513" sldId="2147376796"/>
            <ac:spMk id="9" creationId="{B562558C-1E49-55BD-618A-E9446884170B}"/>
          </ac:spMkLst>
        </pc:spChg>
        <pc:spChg chg="add del mod">
          <ac:chgData name="Clark, Connie" userId="73351e60-ad32-4085-a232-1d9f9b189479" providerId="ADAL" clId="{5F87A5E2-C2A2-4F23-BC8C-28F7F5EA6CA7}" dt="2024-03-29T23:27:07.838" v="8754" actId="478"/>
          <ac:spMkLst>
            <pc:docMk/>
            <pc:sldMk cId="2983976513" sldId="2147376796"/>
            <ac:spMk id="11" creationId="{E3D637E9-774A-A6C4-3A4E-1D88DD371AED}"/>
          </ac:spMkLst>
        </pc:spChg>
        <pc:spChg chg="add del mod">
          <ac:chgData name="Clark, Connie" userId="73351e60-ad32-4085-a232-1d9f9b189479" providerId="ADAL" clId="{5F87A5E2-C2A2-4F23-BC8C-28F7F5EA6CA7}" dt="2024-03-29T23:27:07.838" v="8754" actId="478"/>
          <ac:spMkLst>
            <pc:docMk/>
            <pc:sldMk cId="2983976513" sldId="2147376796"/>
            <ac:spMk id="12" creationId="{92F87F5C-83EC-EC53-57F4-34125E194CA2}"/>
          </ac:spMkLst>
        </pc:spChg>
        <pc:spChg chg="add mod">
          <ac:chgData name="Clark, Connie" userId="73351e60-ad32-4085-a232-1d9f9b189479" providerId="ADAL" clId="{5F87A5E2-C2A2-4F23-BC8C-28F7F5EA6CA7}" dt="2024-03-29T23:27:09.339" v="8755"/>
          <ac:spMkLst>
            <pc:docMk/>
            <pc:sldMk cId="2983976513" sldId="2147376796"/>
            <ac:spMk id="13" creationId="{E1CDD206-1BCC-ECE0-DB55-1FFE915C2FCC}"/>
          </ac:spMkLst>
        </pc:spChg>
        <pc:spChg chg="add mod">
          <ac:chgData name="Clark, Connie" userId="73351e60-ad32-4085-a232-1d9f9b189479" providerId="ADAL" clId="{5F87A5E2-C2A2-4F23-BC8C-28F7F5EA6CA7}" dt="2024-03-29T23:27:09.339" v="8755"/>
          <ac:spMkLst>
            <pc:docMk/>
            <pc:sldMk cId="2983976513" sldId="2147376796"/>
            <ac:spMk id="14" creationId="{6AE6357A-7D0F-9DDF-2208-7BFA87590A09}"/>
          </ac:spMkLst>
        </pc:spChg>
        <pc:spChg chg="mod">
          <ac:chgData name="Clark, Connie" userId="73351e60-ad32-4085-a232-1d9f9b189479" providerId="ADAL" clId="{5F87A5E2-C2A2-4F23-BC8C-28F7F5EA6CA7}" dt="2024-03-29T22:05:15.750" v="7490" actId="20577"/>
          <ac:spMkLst>
            <pc:docMk/>
            <pc:sldMk cId="2983976513" sldId="2147376796"/>
            <ac:spMk id="28" creationId="{2E6D0D01-6A0F-C209-2507-315A7F45EFD9}"/>
          </ac:spMkLst>
        </pc:spChg>
        <pc:spChg chg="mod">
          <ac:chgData name="Clark, Connie" userId="73351e60-ad32-4085-a232-1d9f9b189479" providerId="ADAL" clId="{5F87A5E2-C2A2-4F23-BC8C-28F7F5EA6CA7}" dt="2024-03-29T17:09:36.629" v="4464" actId="20577"/>
          <ac:spMkLst>
            <pc:docMk/>
            <pc:sldMk cId="2983976513" sldId="2147376796"/>
            <ac:spMk id="176" creationId="{7904F9E7-6A77-80B1-9CDB-2717F95B7975}"/>
          </ac:spMkLst>
        </pc:spChg>
      </pc:sldChg>
      <pc:sldChg chg="addSp delSp modSp add del mod">
        <pc:chgData name="Clark, Connie" userId="73351e60-ad32-4085-a232-1d9f9b189479" providerId="ADAL" clId="{5F87A5E2-C2A2-4F23-BC8C-28F7F5EA6CA7}" dt="2024-05-24T00:02:43.346" v="31034" actId="2696"/>
        <pc:sldMkLst>
          <pc:docMk/>
          <pc:sldMk cId="2497661648" sldId="2147376797"/>
        </pc:sldMkLst>
        <pc:spChg chg="mod">
          <ac:chgData name="Clark, Connie" userId="73351e60-ad32-4085-a232-1d9f9b189479" providerId="ADAL" clId="{5F87A5E2-C2A2-4F23-BC8C-28F7F5EA6CA7}" dt="2024-03-29T23:14:28.164" v="8637" actId="313"/>
          <ac:spMkLst>
            <pc:docMk/>
            <pc:sldMk cId="2497661648" sldId="2147376797"/>
            <ac:spMk id="2" creationId="{43E60B58-F9AB-EF1D-F918-1DD68E3EB78C}"/>
          </ac:spMkLst>
        </pc:spChg>
        <pc:spChg chg="del mod">
          <ac:chgData name="Clark, Connie" userId="73351e60-ad32-4085-a232-1d9f9b189479" providerId="ADAL" clId="{5F87A5E2-C2A2-4F23-BC8C-28F7F5EA6CA7}" dt="2024-03-29T23:20:11.517" v="8686" actId="478"/>
          <ac:spMkLst>
            <pc:docMk/>
            <pc:sldMk cId="2497661648" sldId="2147376797"/>
            <ac:spMk id="3" creationId="{9AFBF33D-ED8C-A6DE-E037-F533CE2052F2}"/>
          </ac:spMkLst>
        </pc:spChg>
        <pc:spChg chg="del">
          <ac:chgData name="Clark, Connie" userId="73351e60-ad32-4085-a232-1d9f9b189479" providerId="ADAL" clId="{5F87A5E2-C2A2-4F23-BC8C-28F7F5EA6CA7}" dt="2024-03-29T23:20:11.517" v="8686" actId="478"/>
          <ac:spMkLst>
            <pc:docMk/>
            <pc:sldMk cId="2497661648" sldId="2147376797"/>
            <ac:spMk id="4" creationId="{A4F4489F-E638-7273-86A5-F120A8F53A51}"/>
          </ac:spMkLst>
        </pc:spChg>
        <pc:spChg chg="add del mod">
          <ac:chgData name="Clark, Connie" userId="73351e60-ad32-4085-a232-1d9f9b189479" providerId="ADAL" clId="{5F87A5E2-C2A2-4F23-BC8C-28F7F5EA6CA7}" dt="2024-03-29T17:35:32.133" v="5736" actId="478"/>
          <ac:spMkLst>
            <pc:docMk/>
            <pc:sldMk cId="2497661648" sldId="2147376797"/>
            <ac:spMk id="6" creationId="{20E3CCBA-5024-5EC1-0E5C-2F317332E9B0}"/>
          </ac:spMkLst>
        </pc:spChg>
        <pc:spChg chg="add del mod">
          <ac:chgData name="Clark, Connie" userId="73351e60-ad32-4085-a232-1d9f9b189479" providerId="ADAL" clId="{5F87A5E2-C2A2-4F23-BC8C-28F7F5EA6CA7}" dt="2024-03-29T23:24:51.801" v="8725" actId="478"/>
          <ac:spMkLst>
            <pc:docMk/>
            <pc:sldMk cId="2497661648" sldId="2147376797"/>
            <ac:spMk id="7" creationId="{EA996F2B-36F6-B61D-3BFD-AF5E5C2C29E9}"/>
          </ac:spMkLst>
        </pc:spChg>
        <pc:spChg chg="add del mod">
          <ac:chgData name="Clark, Connie" userId="73351e60-ad32-4085-a232-1d9f9b189479" providerId="ADAL" clId="{5F87A5E2-C2A2-4F23-BC8C-28F7F5EA6CA7}" dt="2024-03-29T23:24:51.801" v="8725" actId="478"/>
          <ac:spMkLst>
            <pc:docMk/>
            <pc:sldMk cId="2497661648" sldId="2147376797"/>
            <ac:spMk id="8" creationId="{97681527-7B6B-8510-27D2-9D4E643A1152}"/>
          </ac:spMkLst>
        </pc:spChg>
        <pc:spChg chg="add mod">
          <ac:chgData name="Clark, Connie" userId="73351e60-ad32-4085-a232-1d9f9b189479" providerId="ADAL" clId="{5F87A5E2-C2A2-4F23-BC8C-28F7F5EA6CA7}" dt="2024-03-29T23:26:40.092" v="8747" actId="1036"/>
          <ac:spMkLst>
            <pc:docMk/>
            <pc:sldMk cId="2497661648" sldId="2147376797"/>
            <ac:spMk id="9" creationId="{EB6EFA5B-AA78-8401-761B-E24138733DD4}"/>
          </ac:spMkLst>
        </pc:spChg>
        <pc:spChg chg="add mod">
          <ac:chgData name="Clark, Connie" userId="73351e60-ad32-4085-a232-1d9f9b189479" providerId="ADAL" clId="{5F87A5E2-C2A2-4F23-BC8C-28F7F5EA6CA7}" dt="2024-03-29T23:26:40.092" v="8747" actId="1036"/>
          <ac:spMkLst>
            <pc:docMk/>
            <pc:sldMk cId="2497661648" sldId="2147376797"/>
            <ac:spMk id="11" creationId="{92F94165-E4B3-7E9E-B00D-C8031A778389}"/>
          </ac:spMkLst>
        </pc:spChg>
      </pc:sldChg>
      <pc:sldChg chg="addSp delSp modSp add del mod ord">
        <pc:chgData name="Clark, Connie" userId="73351e60-ad32-4085-a232-1d9f9b189479" providerId="ADAL" clId="{5F87A5E2-C2A2-4F23-BC8C-28F7F5EA6CA7}" dt="2024-05-24T00:02:43.346" v="31034" actId="2696"/>
        <pc:sldMkLst>
          <pc:docMk/>
          <pc:sldMk cId="698961891" sldId="2147376798"/>
        </pc:sldMkLst>
        <pc:spChg chg="mod">
          <ac:chgData name="Clark, Connie" userId="73351e60-ad32-4085-a232-1d9f9b189479" providerId="ADAL" clId="{5F87A5E2-C2A2-4F23-BC8C-28F7F5EA6CA7}" dt="2024-03-29T23:14:36.657" v="8640" actId="313"/>
          <ac:spMkLst>
            <pc:docMk/>
            <pc:sldMk cId="698961891" sldId="2147376798"/>
            <ac:spMk id="2" creationId="{43E60B58-F9AB-EF1D-F918-1DD68E3EB78C}"/>
          </ac:spMkLst>
        </pc:spChg>
        <pc:spChg chg="del mod">
          <ac:chgData name="Clark, Connie" userId="73351e60-ad32-4085-a232-1d9f9b189479" providerId="ADAL" clId="{5F87A5E2-C2A2-4F23-BC8C-28F7F5EA6CA7}" dt="2024-03-29T23:20:28.161" v="8690" actId="478"/>
          <ac:spMkLst>
            <pc:docMk/>
            <pc:sldMk cId="698961891" sldId="2147376798"/>
            <ac:spMk id="3" creationId="{9AFBF33D-ED8C-A6DE-E037-F533CE2052F2}"/>
          </ac:spMkLst>
        </pc:spChg>
        <pc:spChg chg="del">
          <ac:chgData name="Clark, Connie" userId="73351e60-ad32-4085-a232-1d9f9b189479" providerId="ADAL" clId="{5F87A5E2-C2A2-4F23-BC8C-28F7F5EA6CA7}" dt="2024-03-29T23:20:28.161" v="8690" actId="478"/>
          <ac:spMkLst>
            <pc:docMk/>
            <pc:sldMk cId="698961891" sldId="2147376798"/>
            <ac:spMk id="4" creationId="{A4F4489F-E638-7273-86A5-F120A8F53A51}"/>
          </ac:spMkLst>
        </pc:spChg>
        <pc:spChg chg="add del mod">
          <ac:chgData name="Clark, Connie" userId="73351e60-ad32-4085-a232-1d9f9b189479" providerId="ADAL" clId="{5F87A5E2-C2A2-4F23-BC8C-28F7F5EA6CA7}" dt="2024-03-29T17:43:48.654" v="6342" actId="478"/>
          <ac:spMkLst>
            <pc:docMk/>
            <pc:sldMk cId="698961891" sldId="2147376798"/>
            <ac:spMk id="5" creationId="{AF97FBC1-3A60-CD98-98E3-3D1C703D2AB7}"/>
          </ac:spMkLst>
        </pc:spChg>
        <pc:spChg chg="add del mod">
          <ac:chgData name="Clark, Connie" userId="73351e60-ad32-4085-a232-1d9f9b189479" providerId="ADAL" clId="{5F87A5E2-C2A2-4F23-BC8C-28F7F5EA6CA7}" dt="2024-03-29T23:25:03.743" v="8728" actId="478"/>
          <ac:spMkLst>
            <pc:docMk/>
            <pc:sldMk cId="698961891" sldId="2147376798"/>
            <ac:spMk id="6" creationId="{0936FE53-5A02-4CD9-8703-685F4F1291DF}"/>
          </ac:spMkLst>
        </pc:spChg>
        <pc:spChg chg="add del mod">
          <ac:chgData name="Clark, Connie" userId="73351e60-ad32-4085-a232-1d9f9b189479" providerId="ADAL" clId="{5F87A5E2-C2A2-4F23-BC8C-28F7F5EA6CA7}" dt="2024-03-29T23:25:03.743" v="8728" actId="478"/>
          <ac:spMkLst>
            <pc:docMk/>
            <pc:sldMk cId="698961891" sldId="2147376798"/>
            <ac:spMk id="7" creationId="{9AE87C81-BBE9-FA7E-2726-94460A9F4A4F}"/>
          </ac:spMkLst>
        </pc:spChg>
        <pc:spChg chg="add mod">
          <ac:chgData name="Clark, Connie" userId="73351e60-ad32-4085-a232-1d9f9b189479" providerId="ADAL" clId="{5F87A5E2-C2A2-4F23-BC8C-28F7F5EA6CA7}" dt="2024-03-29T23:26:46.287" v="8749"/>
          <ac:spMkLst>
            <pc:docMk/>
            <pc:sldMk cId="698961891" sldId="2147376798"/>
            <ac:spMk id="8" creationId="{6E581B00-C702-7314-6114-5E15484018A1}"/>
          </ac:spMkLst>
        </pc:spChg>
        <pc:spChg chg="add mod">
          <ac:chgData name="Clark, Connie" userId="73351e60-ad32-4085-a232-1d9f9b189479" providerId="ADAL" clId="{5F87A5E2-C2A2-4F23-BC8C-28F7F5EA6CA7}" dt="2024-03-29T23:26:46.287" v="8749"/>
          <ac:spMkLst>
            <pc:docMk/>
            <pc:sldMk cId="698961891" sldId="2147376798"/>
            <ac:spMk id="9" creationId="{24657C36-55A8-E146-C83F-0E17EA7346BF}"/>
          </ac:spMkLst>
        </pc:spChg>
      </pc:sldChg>
      <pc:sldChg chg="addSp delSp modSp add del mod">
        <pc:chgData name="Clark, Connie" userId="73351e60-ad32-4085-a232-1d9f9b189479" providerId="ADAL" clId="{5F87A5E2-C2A2-4F23-BC8C-28F7F5EA6CA7}" dt="2024-05-24T00:02:43.346" v="31034" actId="2696"/>
        <pc:sldMkLst>
          <pc:docMk/>
          <pc:sldMk cId="3296730163" sldId="2147376799"/>
        </pc:sldMkLst>
        <pc:spChg chg="mod">
          <ac:chgData name="Clark, Connie" userId="73351e60-ad32-4085-a232-1d9f9b189479" providerId="ADAL" clId="{5F87A5E2-C2A2-4F23-BC8C-28F7F5EA6CA7}" dt="2024-03-29T22:16:24.234" v="7898" actId="14100"/>
          <ac:spMkLst>
            <pc:docMk/>
            <pc:sldMk cId="3296730163" sldId="2147376799"/>
            <ac:spMk id="2" creationId="{43E60B58-F9AB-EF1D-F918-1DD68E3EB78C}"/>
          </ac:spMkLst>
        </pc:spChg>
        <pc:spChg chg="del mod">
          <ac:chgData name="Clark, Connie" userId="73351e60-ad32-4085-a232-1d9f9b189479" providerId="ADAL" clId="{5F87A5E2-C2A2-4F23-BC8C-28F7F5EA6CA7}" dt="2024-03-29T22:15:53.965" v="7895" actId="478"/>
          <ac:spMkLst>
            <pc:docMk/>
            <pc:sldMk cId="3296730163" sldId="2147376799"/>
            <ac:spMk id="3" creationId="{9AFBF33D-ED8C-A6DE-E037-F533CE2052F2}"/>
          </ac:spMkLst>
        </pc:spChg>
        <pc:spChg chg="del">
          <ac:chgData name="Clark, Connie" userId="73351e60-ad32-4085-a232-1d9f9b189479" providerId="ADAL" clId="{5F87A5E2-C2A2-4F23-BC8C-28F7F5EA6CA7}" dt="2024-03-29T23:20:20.176" v="8688" actId="478"/>
          <ac:spMkLst>
            <pc:docMk/>
            <pc:sldMk cId="3296730163" sldId="2147376799"/>
            <ac:spMk id="4" creationId="{A4F4489F-E638-7273-86A5-F120A8F53A51}"/>
          </ac:spMkLst>
        </pc:spChg>
        <pc:spChg chg="mod">
          <ac:chgData name="Clark, Connie" userId="73351e60-ad32-4085-a232-1d9f9b189479" providerId="ADAL" clId="{5F87A5E2-C2A2-4F23-BC8C-28F7F5EA6CA7}" dt="2024-03-29T23:14:31.394" v="8638" actId="2"/>
          <ac:spMkLst>
            <pc:docMk/>
            <pc:sldMk cId="3296730163" sldId="2147376799"/>
            <ac:spMk id="5" creationId="{AF97FBC1-3A60-CD98-98E3-3D1C703D2AB7}"/>
          </ac:spMkLst>
        </pc:spChg>
        <pc:spChg chg="add del">
          <ac:chgData name="Clark, Connie" userId="73351e60-ad32-4085-a232-1d9f9b189479" providerId="ADAL" clId="{5F87A5E2-C2A2-4F23-BC8C-28F7F5EA6CA7}" dt="2024-03-29T22:12:54.711" v="7768" actId="22"/>
          <ac:spMkLst>
            <pc:docMk/>
            <pc:sldMk cId="3296730163" sldId="2147376799"/>
            <ac:spMk id="7" creationId="{C4D1BAF3-27F1-D4C7-FD1F-0609293A9213}"/>
          </ac:spMkLst>
        </pc:spChg>
        <pc:spChg chg="add mod">
          <ac:chgData name="Clark, Connie" userId="73351e60-ad32-4085-a232-1d9f9b189479" providerId="ADAL" clId="{5F87A5E2-C2A2-4F23-BC8C-28F7F5EA6CA7}" dt="2024-03-29T22:16:29.502" v="7899" actId="1076"/>
          <ac:spMkLst>
            <pc:docMk/>
            <pc:sldMk cId="3296730163" sldId="2147376799"/>
            <ac:spMk id="9" creationId="{CB67D657-53A5-11AE-FDB8-6AE6D0E9098B}"/>
          </ac:spMkLst>
        </pc:spChg>
        <pc:spChg chg="mod">
          <ac:chgData name="Clark, Connie" userId="73351e60-ad32-4085-a232-1d9f9b189479" providerId="ADAL" clId="{5F87A5E2-C2A2-4F23-BC8C-28F7F5EA6CA7}" dt="2024-03-29T22:15:43.443" v="7893" actId="1076"/>
          <ac:spMkLst>
            <pc:docMk/>
            <pc:sldMk cId="3296730163" sldId="2147376799"/>
            <ac:spMk id="10" creationId="{12B1270C-F633-9796-D54A-4B18D5CA9451}"/>
          </ac:spMkLst>
        </pc:spChg>
        <pc:spChg chg="add del mod">
          <ac:chgData name="Clark, Connie" userId="73351e60-ad32-4085-a232-1d9f9b189479" providerId="ADAL" clId="{5F87A5E2-C2A2-4F23-BC8C-28F7F5EA6CA7}" dt="2024-03-29T23:24:58.697" v="8727" actId="478"/>
          <ac:spMkLst>
            <pc:docMk/>
            <pc:sldMk cId="3296730163" sldId="2147376799"/>
            <ac:spMk id="11" creationId="{9836D352-18F5-C7AA-DDF5-F0DD23B50992}"/>
          </ac:spMkLst>
        </pc:spChg>
        <pc:spChg chg="add del mod">
          <ac:chgData name="Clark, Connie" userId="73351e60-ad32-4085-a232-1d9f9b189479" providerId="ADAL" clId="{5F87A5E2-C2A2-4F23-BC8C-28F7F5EA6CA7}" dt="2024-03-29T23:24:56.623" v="8726" actId="478"/>
          <ac:spMkLst>
            <pc:docMk/>
            <pc:sldMk cId="3296730163" sldId="2147376799"/>
            <ac:spMk id="12" creationId="{5B8E5032-289E-7376-E7A5-0D48EE8C489A}"/>
          </ac:spMkLst>
        </pc:spChg>
        <pc:spChg chg="add mod">
          <ac:chgData name="Clark, Connie" userId="73351e60-ad32-4085-a232-1d9f9b189479" providerId="ADAL" clId="{5F87A5E2-C2A2-4F23-BC8C-28F7F5EA6CA7}" dt="2024-03-29T23:26:43.270" v="8748"/>
          <ac:spMkLst>
            <pc:docMk/>
            <pc:sldMk cId="3296730163" sldId="2147376799"/>
            <ac:spMk id="13" creationId="{F1D27174-6BB7-9C6F-8DC1-61EFA6D3FB3B}"/>
          </ac:spMkLst>
        </pc:spChg>
        <pc:spChg chg="add mod">
          <ac:chgData name="Clark, Connie" userId="73351e60-ad32-4085-a232-1d9f9b189479" providerId="ADAL" clId="{5F87A5E2-C2A2-4F23-BC8C-28F7F5EA6CA7}" dt="2024-03-29T23:26:43.270" v="8748"/>
          <ac:spMkLst>
            <pc:docMk/>
            <pc:sldMk cId="3296730163" sldId="2147376799"/>
            <ac:spMk id="14" creationId="{0C5ECCF2-AB83-F13D-B5D2-5ECF5CED58AE}"/>
          </ac:spMkLst>
        </pc:spChg>
        <pc:spChg chg="mod">
          <ac:chgData name="Clark, Connie" userId="73351e60-ad32-4085-a232-1d9f9b189479" providerId="ADAL" clId="{5F87A5E2-C2A2-4F23-BC8C-28F7F5EA6CA7}" dt="2024-03-29T22:12:29.405" v="7763" actId="1076"/>
          <ac:spMkLst>
            <pc:docMk/>
            <pc:sldMk cId="3296730163" sldId="2147376799"/>
            <ac:spMk id="28" creationId="{2E6D0D01-6A0F-C209-2507-315A7F45EFD9}"/>
          </ac:spMkLst>
        </pc:spChg>
      </pc:sldChg>
      <pc:sldChg chg="addSp delSp modSp add del mod">
        <pc:chgData name="Clark, Connie" userId="73351e60-ad32-4085-a232-1d9f9b189479" providerId="ADAL" clId="{5F87A5E2-C2A2-4F23-BC8C-28F7F5EA6CA7}" dt="2024-05-24T00:02:43.346" v="31034" actId="2696"/>
        <pc:sldMkLst>
          <pc:docMk/>
          <pc:sldMk cId="891704535" sldId="2147376800"/>
        </pc:sldMkLst>
        <pc:spChg chg="mod">
          <ac:chgData name="Clark, Connie" userId="73351e60-ad32-4085-a232-1d9f9b189479" providerId="ADAL" clId="{5F87A5E2-C2A2-4F23-BC8C-28F7F5EA6CA7}" dt="2024-03-29T22:32:29.054" v="7998" actId="1076"/>
          <ac:spMkLst>
            <pc:docMk/>
            <pc:sldMk cId="891704535" sldId="2147376800"/>
            <ac:spMk id="2" creationId="{43E60B58-F9AB-EF1D-F918-1DD68E3EB78C}"/>
          </ac:spMkLst>
        </pc:spChg>
        <pc:spChg chg="del mod">
          <ac:chgData name="Clark, Connie" userId="73351e60-ad32-4085-a232-1d9f9b189479" providerId="ADAL" clId="{5F87A5E2-C2A2-4F23-BC8C-28F7F5EA6CA7}" dt="2024-03-29T23:20:47.447" v="8695" actId="478"/>
          <ac:spMkLst>
            <pc:docMk/>
            <pc:sldMk cId="891704535" sldId="2147376800"/>
            <ac:spMk id="3" creationId="{9AFBF33D-ED8C-A6DE-E037-F533CE2052F2}"/>
          </ac:spMkLst>
        </pc:spChg>
        <pc:spChg chg="del">
          <ac:chgData name="Clark, Connie" userId="73351e60-ad32-4085-a232-1d9f9b189479" providerId="ADAL" clId="{5F87A5E2-C2A2-4F23-BC8C-28F7F5EA6CA7}" dt="2024-03-29T23:20:47.447" v="8695" actId="478"/>
          <ac:spMkLst>
            <pc:docMk/>
            <pc:sldMk cId="891704535" sldId="2147376800"/>
            <ac:spMk id="4" creationId="{A4F4489F-E638-7273-86A5-F120A8F53A51}"/>
          </ac:spMkLst>
        </pc:spChg>
        <pc:spChg chg="del">
          <ac:chgData name="Clark, Connie" userId="73351e60-ad32-4085-a232-1d9f9b189479" providerId="ADAL" clId="{5F87A5E2-C2A2-4F23-BC8C-28F7F5EA6CA7}" dt="2024-03-29T17:48:41.408" v="6546" actId="478"/>
          <ac:spMkLst>
            <pc:docMk/>
            <pc:sldMk cId="891704535" sldId="2147376800"/>
            <ac:spMk id="5" creationId="{AF97FBC1-3A60-CD98-98E3-3D1C703D2AB7}"/>
          </ac:spMkLst>
        </pc:spChg>
        <pc:spChg chg="add del mod">
          <ac:chgData name="Clark, Connie" userId="73351e60-ad32-4085-a232-1d9f9b189479" providerId="ADAL" clId="{5F87A5E2-C2A2-4F23-BC8C-28F7F5EA6CA7}" dt="2024-03-29T23:25:13.877" v="8731" actId="478"/>
          <ac:spMkLst>
            <pc:docMk/>
            <pc:sldMk cId="891704535" sldId="2147376800"/>
            <ac:spMk id="6" creationId="{4A09A114-C731-7E4B-1A09-49E2C0E21428}"/>
          </ac:spMkLst>
        </pc:spChg>
        <pc:spChg chg="add del mod">
          <ac:chgData name="Clark, Connie" userId="73351e60-ad32-4085-a232-1d9f9b189479" providerId="ADAL" clId="{5F87A5E2-C2A2-4F23-BC8C-28F7F5EA6CA7}" dt="2024-03-29T23:25:13.877" v="8731" actId="478"/>
          <ac:spMkLst>
            <pc:docMk/>
            <pc:sldMk cId="891704535" sldId="2147376800"/>
            <ac:spMk id="7" creationId="{EB1803C1-0903-BC56-F02D-FE818C3A0D8F}"/>
          </ac:spMkLst>
        </pc:spChg>
        <pc:spChg chg="add mod">
          <ac:chgData name="Clark, Connie" userId="73351e60-ad32-4085-a232-1d9f9b189479" providerId="ADAL" clId="{5F87A5E2-C2A2-4F23-BC8C-28F7F5EA6CA7}" dt="2024-03-29T23:26:52.083" v="8751"/>
          <ac:spMkLst>
            <pc:docMk/>
            <pc:sldMk cId="891704535" sldId="2147376800"/>
            <ac:spMk id="8" creationId="{5A333A4B-2B1B-9D61-39C5-D87058490925}"/>
          </ac:spMkLst>
        </pc:spChg>
        <pc:spChg chg="add mod">
          <ac:chgData name="Clark, Connie" userId="73351e60-ad32-4085-a232-1d9f9b189479" providerId="ADAL" clId="{5F87A5E2-C2A2-4F23-BC8C-28F7F5EA6CA7}" dt="2024-03-29T23:26:52.083" v="8751"/>
          <ac:spMkLst>
            <pc:docMk/>
            <pc:sldMk cId="891704535" sldId="2147376800"/>
            <ac:spMk id="9" creationId="{299E78BA-7A32-A0A8-E4A2-62130C662C33}"/>
          </ac:spMkLst>
        </pc:spChg>
      </pc:sldChg>
      <pc:sldChg chg="addSp delSp modSp add del mod">
        <pc:chgData name="Clark, Connie" userId="73351e60-ad32-4085-a232-1d9f9b189479" providerId="ADAL" clId="{5F87A5E2-C2A2-4F23-BC8C-28F7F5EA6CA7}" dt="2024-05-24T00:02:43.346" v="31034" actId="2696"/>
        <pc:sldMkLst>
          <pc:docMk/>
          <pc:sldMk cId="4294143562" sldId="2147376801"/>
        </pc:sldMkLst>
        <pc:spChg chg="mod">
          <ac:chgData name="Clark, Connie" userId="73351e60-ad32-4085-a232-1d9f9b189479" providerId="ADAL" clId="{5F87A5E2-C2A2-4F23-BC8C-28F7F5EA6CA7}" dt="2024-03-29T23:14:46.674" v="8642" actId="2"/>
          <ac:spMkLst>
            <pc:docMk/>
            <pc:sldMk cId="4294143562" sldId="2147376801"/>
            <ac:spMk id="2" creationId="{43E60B58-F9AB-EF1D-F918-1DD68E3EB78C}"/>
          </ac:spMkLst>
        </pc:spChg>
        <pc:spChg chg="del mod">
          <ac:chgData name="Clark, Connie" userId="73351e60-ad32-4085-a232-1d9f9b189479" providerId="ADAL" clId="{5F87A5E2-C2A2-4F23-BC8C-28F7F5EA6CA7}" dt="2024-03-29T23:20:34.092" v="8692" actId="478"/>
          <ac:spMkLst>
            <pc:docMk/>
            <pc:sldMk cId="4294143562" sldId="2147376801"/>
            <ac:spMk id="3" creationId="{9AFBF33D-ED8C-A6DE-E037-F533CE2052F2}"/>
          </ac:spMkLst>
        </pc:spChg>
        <pc:spChg chg="del">
          <ac:chgData name="Clark, Connie" userId="73351e60-ad32-4085-a232-1d9f9b189479" providerId="ADAL" clId="{5F87A5E2-C2A2-4F23-BC8C-28F7F5EA6CA7}" dt="2024-03-29T23:20:36.472" v="8693" actId="478"/>
          <ac:spMkLst>
            <pc:docMk/>
            <pc:sldMk cId="4294143562" sldId="2147376801"/>
            <ac:spMk id="4" creationId="{A4F4489F-E638-7273-86A5-F120A8F53A51}"/>
          </ac:spMkLst>
        </pc:spChg>
        <pc:spChg chg="del">
          <ac:chgData name="Clark, Connie" userId="73351e60-ad32-4085-a232-1d9f9b189479" providerId="ADAL" clId="{5F87A5E2-C2A2-4F23-BC8C-28F7F5EA6CA7}" dt="2024-03-29T17:48:27.752" v="6543" actId="478"/>
          <ac:spMkLst>
            <pc:docMk/>
            <pc:sldMk cId="4294143562" sldId="2147376801"/>
            <ac:spMk id="5" creationId="{AF97FBC1-3A60-CD98-98E3-3D1C703D2AB7}"/>
          </ac:spMkLst>
        </pc:spChg>
        <pc:spChg chg="add del mod">
          <ac:chgData name="Clark, Connie" userId="73351e60-ad32-4085-a232-1d9f9b189479" providerId="ADAL" clId="{5F87A5E2-C2A2-4F23-BC8C-28F7F5EA6CA7}" dt="2024-03-29T23:25:10.625" v="8730" actId="478"/>
          <ac:spMkLst>
            <pc:docMk/>
            <pc:sldMk cId="4294143562" sldId="2147376801"/>
            <ac:spMk id="6" creationId="{3775121E-62EF-9EB9-1DFC-837902FB1F50}"/>
          </ac:spMkLst>
        </pc:spChg>
        <pc:spChg chg="add del mod">
          <ac:chgData name="Clark, Connie" userId="73351e60-ad32-4085-a232-1d9f9b189479" providerId="ADAL" clId="{5F87A5E2-C2A2-4F23-BC8C-28F7F5EA6CA7}" dt="2024-03-29T23:25:08.254" v="8729" actId="478"/>
          <ac:spMkLst>
            <pc:docMk/>
            <pc:sldMk cId="4294143562" sldId="2147376801"/>
            <ac:spMk id="7" creationId="{F362244E-EB68-D627-A389-A1ADAC8EBEEF}"/>
          </ac:spMkLst>
        </pc:spChg>
        <pc:spChg chg="add mod">
          <ac:chgData name="Clark, Connie" userId="73351e60-ad32-4085-a232-1d9f9b189479" providerId="ADAL" clId="{5F87A5E2-C2A2-4F23-BC8C-28F7F5EA6CA7}" dt="2024-03-29T23:26:49.256" v="8750"/>
          <ac:spMkLst>
            <pc:docMk/>
            <pc:sldMk cId="4294143562" sldId="2147376801"/>
            <ac:spMk id="8" creationId="{A8FD5450-B639-C503-D25D-6B2FE287936E}"/>
          </ac:spMkLst>
        </pc:spChg>
        <pc:spChg chg="add mod">
          <ac:chgData name="Clark, Connie" userId="73351e60-ad32-4085-a232-1d9f9b189479" providerId="ADAL" clId="{5F87A5E2-C2A2-4F23-BC8C-28F7F5EA6CA7}" dt="2024-03-29T23:26:49.256" v="8750"/>
          <ac:spMkLst>
            <pc:docMk/>
            <pc:sldMk cId="4294143562" sldId="2147376801"/>
            <ac:spMk id="9" creationId="{D801F357-7243-AFDF-5ABB-A7611FBBF0F8}"/>
          </ac:spMkLst>
        </pc:spChg>
      </pc:sldChg>
      <pc:sldChg chg="addSp delSp modSp add del mod">
        <pc:chgData name="Clark, Connie" userId="73351e60-ad32-4085-a232-1d9f9b189479" providerId="ADAL" clId="{5F87A5E2-C2A2-4F23-BC8C-28F7F5EA6CA7}" dt="2024-05-24T00:02:43.346" v="31034" actId="2696"/>
        <pc:sldMkLst>
          <pc:docMk/>
          <pc:sldMk cId="640298519" sldId="2147376802"/>
        </pc:sldMkLst>
        <pc:spChg chg="mod">
          <ac:chgData name="Clark, Connie" userId="73351e60-ad32-4085-a232-1d9f9b189479" providerId="ADAL" clId="{5F87A5E2-C2A2-4F23-BC8C-28F7F5EA6CA7}" dt="2024-03-29T22:34:03.621" v="8022" actId="1076"/>
          <ac:spMkLst>
            <pc:docMk/>
            <pc:sldMk cId="640298519" sldId="2147376802"/>
            <ac:spMk id="2" creationId="{43E60B58-F9AB-EF1D-F918-1DD68E3EB78C}"/>
          </ac:spMkLst>
        </pc:spChg>
        <pc:spChg chg="del mod">
          <ac:chgData name="Clark, Connie" userId="73351e60-ad32-4085-a232-1d9f9b189479" providerId="ADAL" clId="{5F87A5E2-C2A2-4F23-BC8C-28F7F5EA6CA7}" dt="2024-03-29T23:21:01.749" v="8697" actId="478"/>
          <ac:spMkLst>
            <pc:docMk/>
            <pc:sldMk cId="640298519" sldId="2147376802"/>
            <ac:spMk id="3" creationId="{9AFBF33D-ED8C-A6DE-E037-F533CE2052F2}"/>
          </ac:spMkLst>
        </pc:spChg>
        <pc:spChg chg="del">
          <ac:chgData name="Clark, Connie" userId="73351e60-ad32-4085-a232-1d9f9b189479" providerId="ADAL" clId="{5F87A5E2-C2A2-4F23-BC8C-28F7F5EA6CA7}" dt="2024-03-29T23:21:04.508" v="8698" actId="478"/>
          <ac:spMkLst>
            <pc:docMk/>
            <pc:sldMk cId="640298519" sldId="2147376802"/>
            <ac:spMk id="4" creationId="{A4F4489F-E638-7273-86A5-F120A8F53A51}"/>
          </ac:spMkLst>
        </pc:spChg>
        <pc:spChg chg="add del mod">
          <ac:chgData name="Clark, Connie" userId="73351e60-ad32-4085-a232-1d9f9b189479" providerId="ADAL" clId="{5F87A5E2-C2A2-4F23-BC8C-28F7F5EA6CA7}" dt="2024-03-29T23:25:21.771" v="8733" actId="478"/>
          <ac:spMkLst>
            <pc:docMk/>
            <pc:sldMk cId="640298519" sldId="2147376802"/>
            <ac:spMk id="5" creationId="{DF60439D-DA2C-D23B-8265-2FFD71CA61E9}"/>
          </ac:spMkLst>
        </pc:spChg>
        <pc:spChg chg="add del mod">
          <ac:chgData name="Clark, Connie" userId="73351e60-ad32-4085-a232-1d9f9b189479" providerId="ADAL" clId="{5F87A5E2-C2A2-4F23-BC8C-28F7F5EA6CA7}" dt="2024-03-29T23:25:19.779" v="8732" actId="478"/>
          <ac:spMkLst>
            <pc:docMk/>
            <pc:sldMk cId="640298519" sldId="2147376802"/>
            <ac:spMk id="6" creationId="{D01FA97D-DBAE-8B3C-A263-B6FCAC6D3B15}"/>
          </ac:spMkLst>
        </pc:spChg>
        <pc:spChg chg="add mod">
          <ac:chgData name="Clark, Connie" userId="73351e60-ad32-4085-a232-1d9f9b189479" providerId="ADAL" clId="{5F87A5E2-C2A2-4F23-BC8C-28F7F5EA6CA7}" dt="2024-03-29T23:26:54.739" v="8752"/>
          <ac:spMkLst>
            <pc:docMk/>
            <pc:sldMk cId="640298519" sldId="2147376802"/>
            <ac:spMk id="7" creationId="{55108C0E-927F-5B76-FE02-E7996AF34F70}"/>
          </ac:spMkLst>
        </pc:spChg>
        <pc:spChg chg="add mod">
          <ac:chgData name="Clark, Connie" userId="73351e60-ad32-4085-a232-1d9f9b189479" providerId="ADAL" clId="{5F87A5E2-C2A2-4F23-BC8C-28F7F5EA6CA7}" dt="2024-03-29T23:26:54.739" v="8752"/>
          <ac:spMkLst>
            <pc:docMk/>
            <pc:sldMk cId="640298519" sldId="2147376802"/>
            <ac:spMk id="8" creationId="{DE59C30C-2D5D-F186-E37C-6A69B24BAC85}"/>
          </ac:spMkLst>
        </pc:spChg>
      </pc:sldChg>
      <pc:sldChg chg="modSp add del mod">
        <pc:chgData name="Clark, Connie" userId="73351e60-ad32-4085-a232-1d9f9b189479" providerId="ADAL" clId="{5F87A5E2-C2A2-4F23-BC8C-28F7F5EA6CA7}" dt="2024-05-24T00:02:43.346" v="31034" actId="2696"/>
        <pc:sldMkLst>
          <pc:docMk/>
          <pc:sldMk cId="1379736873" sldId="2147376803"/>
        </pc:sldMkLst>
        <pc:spChg chg="mod">
          <ac:chgData name="Clark, Connie" userId="73351e60-ad32-4085-a232-1d9f9b189479" providerId="ADAL" clId="{5F87A5E2-C2A2-4F23-BC8C-28F7F5EA6CA7}" dt="2024-03-29T23:14:58.542" v="8648" actId="313"/>
          <ac:spMkLst>
            <pc:docMk/>
            <pc:sldMk cId="1379736873" sldId="2147376803"/>
            <ac:spMk id="2" creationId="{43E60B58-F9AB-EF1D-F918-1DD68E3EB78C}"/>
          </ac:spMkLst>
        </pc:spChg>
        <pc:spChg chg="mod">
          <ac:chgData name="Clark, Connie" userId="73351e60-ad32-4085-a232-1d9f9b189479" providerId="ADAL" clId="{5F87A5E2-C2A2-4F23-BC8C-28F7F5EA6CA7}" dt="2024-03-29T23:24:19.197" v="8723" actId="1076"/>
          <ac:spMkLst>
            <pc:docMk/>
            <pc:sldMk cId="1379736873" sldId="2147376803"/>
            <ac:spMk id="3" creationId="{9AFBF33D-ED8C-A6DE-E037-F533CE2052F2}"/>
          </ac:spMkLst>
        </pc:spChg>
        <pc:spChg chg="mod">
          <ac:chgData name="Clark, Connie" userId="73351e60-ad32-4085-a232-1d9f9b189479" providerId="ADAL" clId="{5F87A5E2-C2A2-4F23-BC8C-28F7F5EA6CA7}" dt="2024-03-29T23:25:50.500" v="8736" actId="1076"/>
          <ac:spMkLst>
            <pc:docMk/>
            <pc:sldMk cId="1379736873" sldId="2147376803"/>
            <ac:spMk id="4" creationId="{A4F4489F-E638-7273-86A5-F120A8F53A51}"/>
          </ac:spMkLst>
        </pc:spChg>
      </pc:sldChg>
      <pc:sldChg chg="addSp delSp modSp add del mod">
        <pc:chgData name="Clark, Connie" userId="73351e60-ad32-4085-a232-1d9f9b189479" providerId="ADAL" clId="{5F87A5E2-C2A2-4F23-BC8C-28F7F5EA6CA7}" dt="2024-05-24T00:02:43.346" v="31034" actId="2696"/>
        <pc:sldMkLst>
          <pc:docMk/>
          <pc:sldMk cId="2831274569" sldId="2147376804"/>
        </pc:sldMkLst>
        <pc:spChg chg="mod">
          <ac:chgData name="Clark, Connie" userId="73351e60-ad32-4085-a232-1d9f9b189479" providerId="ADAL" clId="{5F87A5E2-C2A2-4F23-BC8C-28F7F5EA6CA7}" dt="2024-03-29T23:15:03.631" v="8650" actId="313"/>
          <ac:spMkLst>
            <pc:docMk/>
            <pc:sldMk cId="2831274569" sldId="2147376804"/>
            <ac:spMk id="2" creationId="{43E60B58-F9AB-EF1D-F918-1DD68E3EB78C}"/>
          </ac:spMkLst>
        </pc:spChg>
        <pc:spChg chg="del mod">
          <ac:chgData name="Clark, Connie" userId="73351e60-ad32-4085-a232-1d9f9b189479" providerId="ADAL" clId="{5F87A5E2-C2A2-4F23-BC8C-28F7F5EA6CA7}" dt="2024-03-29T23:25:35.976" v="8735" actId="478"/>
          <ac:spMkLst>
            <pc:docMk/>
            <pc:sldMk cId="2831274569" sldId="2147376804"/>
            <ac:spMk id="3" creationId="{9AFBF33D-ED8C-A6DE-E037-F533CE2052F2}"/>
          </ac:spMkLst>
        </pc:spChg>
        <pc:spChg chg="del">
          <ac:chgData name="Clark, Connie" userId="73351e60-ad32-4085-a232-1d9f9b189479" providerId="ADAL" clId="{5F87A5E2-C2A2-4F23-BC8C-28F7F5EA6CA7}" dt="2024-03-29T23:25:33.409" v="8734" actId="478"/>
          <ac:spMkLst>
            <pc:docMk/>
            <pc:sldMk cId="2831274569" sldId="2147376804"/>
            <ac:spMk id="4" creationId="{A4F4489F-E638-7273-86A5-F120A8F53A51}"/>
          </ac:spMkLst>
        </pc:spChg>
        <pc:spChg chg="add mod">
          <ac:chgData name="Clark, Connie" userId="73351e60-ad32-4085-a232-1d9f9b189479" providerId="ADAL" clId="{5F87A5E2-C2A2-4F23-BC8C-28F7F5EA6CA7}" dt="2024-03-29T23:27:01.288" v="8753"/>
          <ac:spMkLst>
            <pc:docMk/>
            <pc:sldMk cId="2831274569" sldId="2147376804"/>
            <ac:spMk id="5" creationId="{6A897942-B1D9-3167-40AA-D340629FEBE2}"/>
          </ac:spMkLst>
        </pc:spChg>
        <pc:spChg chg="add mod">
          <ac:chgData name="Clark, Connie" userId="73351e60-ad32-4085-a232-1d9f9b189479" providerId="ADAL" clId="{5F87A5E2-C2A2-4F23-BC8C-28F7F5EA6CA7}" dt="2024-03-29T23:27:01.288" v="8753"/>
          <ac:spMkLst>
            <pc:docMk/>
            <pc:sldMk cId="2831274569" sldId="2147376804"/>
            <ac:spMk id="6" creationId="{DBA06510-EE8C-4C20-A231-4D4674363DD7}"/>
          </ac:spMkLst>
        </pc:spChg>
      </pc:sldChg>
      <pc:sldChg chg="add del">
        <pc:chgData name="Clark, Connie" userId="73351e60-ad32-4085-a232-1d9f9b189479" providerId="ADAL" clId="{5F87A5E2-C2A2-4F23-BC8C-28F7F5EA6CA7}" dt="2024-03-29T23:26:14.453" v="8738"/>
        <pc:sldMkLst>
          <pc:docMk/>
          <pc:sldMk cId="2950655989" sldId="2147376805"/>
        </pc:sldMkLst>
      </pc:sldChg>
      <pc:sldChg chg="modSp add del mod ord">
        <pc:chgData name="Clark, Connie" userId="73351e60-ad32-4085-a232-1d9f9b189479" providerId="ADAL" clId="{5F87A5E2-C2A2-4F23-BC8C-28F7F5EA6CA7}" dt="2024-05-24T00:02:43.346" v="31034" actId="2696"/>
        <pc:sldMkLst>
          <pc:docMk/>
          <pc:sldMk cId="2977392991" sldId="2147376805"/>
        </pc:sldMkLst>
        <pc:spChg chg="mod">
          <ac:chgData name="Clark, Connie" userId="73351e60-ad32-4085-a232-1d9f9b189479" providerId="ADAL" clId="{5F87A5E2-C2A2-4F23-BC8C-28F7F5EA6CA7}" dt="2024-03-29T23:57:05.908" v="9183" actId="14100"/>
          <ac:spMkLst>
            <pc:docMk/>
            <pc:sldMk cId="2977392991" sldId="2147376805"/>
            <ac:spMk id="2" creationId="{43E60B58-F9AB-EF1D-F918-1DD68E3EB78C}"/>
          </ac:spMkLst>
        </pc:spChg>
        <pc:spChg chg="mod">
          <ac:chgData name="Clark, Connie" userId="73351e60-ad32-4085-a232-1d9f9b189479" providerId="ADAL" clId="{5F87A5E2-C2A2-4F23-BC8C-28F7F5EA6CA7}" dt="2024-03-29T23:54:29.693" v="8900" actId="27636"/>
          <ac:spMkLst>
            <pc:docMk/>
            <pc:sldMk cId="2977392991" sldId="2147376805"/>
            <ac:spMk id="28" creationId="{2E6D0D01-6A0F-C209-2507-315A7F45EFD9}"/>
          </ac:spMkLst>
        </pc:spChg>
        <pc:spChg chg="mod">
          <ac:chgData name="Clark, Connie" userId="73351e60-ad32-4085-a232-1d9f9b189479" providerId="ADAL" clId="{5F87A5E2-C2A2-4F23-BC8C-28F7F5EA6CA7}" dt="2024-03-29T23:54:23.555" v="8898" actId="20577"/>
          <ac:spMkLst>
            <pc:docMk/>
            <pc:sldMk cId="2977392991" sldId="2147376805"/>
            <ac:spMk id="176" creationId="{7904F9E7-6A77-80B1-9CDB-2717F95B7975}"/>
          </ac:spMkLst>
        </pc:spChg>
      </pc:sldChg>
      <pc:sldChg chg="modSp add del mod">
        <pc:chgData name="Clark, Connie" userId="73351e60-ad32-4085-a232-1d9f9b189479" providerId="ADAL" clId="{5F87A5E2-C2A2-4F23-BC8C-28F7F5EA6CA7}" dt="2024-05-24T00:02:43.346" v="31034" actId="2696"/>
        <pc:sldMkLst>
          <pc:docMk/>
          <pc:sldMk cId="397956406" sldId="2147376806"/>
        </pc:sldMkLst>
        <pc:spChg chg="mod">
          <ac:chgData name="Clark, Connie" userId="73351e60-ad32-4085-a232-1d9f9b189479" providerId="ADAL" clId="{5F87A5E2-C2A2-4F23-BC8C-28F7F5EA6CA7}" dt="2024-03-30T00:00:16.505" v="9322" actId="20577"/>
          <ac:spMkLst>
            <pc:docMk/>
            <pc:sldMk cId="397956406" sldId="2147376806"/>
            <ac:spMk id="2" creationId="{43E60B58-F9AB-EF1D-F918-1DD68E3EB78C}"/>
          </ac:spMkLst>
        </pc:spChg>
      </pc:sldChg>
      <pc:sldChg chg="modSp add del mod">
        <pc:chgData name="Clark, Connie" userId="73351e60-ad32-4085-a232-1d9f9b189479" providerId="ADAL" clId="{5F87A5E2-C2A2-4F23-BC8C-28F7F5EA6CA7}" dt="2024-05-24T00:02:43.346" v="31034" actId="2696"/>
        <pc:sldMkLst>
          <pc:docMk/>
          <pc:sldMk cId="1730678069" sldId="2147376807"/>
        </pc:sldMkLst>
        <pc:spChg chg="mod">
          <ac:chgData name="Clark, Connie" userId="73351e60-ad32-4085-a232-1d9f9b189479" providerId="ADAL" clId="{5F87A5E2-C2A2-4F23-BC8C-28F7F5EA6CA7}" dt="2024-03-30T00:27:44.973" v="11021" actId="20577"/>
          <ac:spMkLst>
            <pc:docMk/>
            <pc:sldMk cId="1730678069" sldId="2147376807"/>
            <ac:spMk id="2" creationId="{43E60B58-F9AB-EF1D-F918-1DD68E3EB78C}"/>
          </ac:spMkLst>
        </pc:spChg>
        <pc:spChg chg="mod">
          <ac:chgData name="Clark, Connie" userId="73351e60-ad32-4085-a232-1d9f9b189479" providerId="ADAL" clId="{5F87A5E2-C2A2-4F23-BC8C-28F7F5EA6CA7}" dt="2024-03-30T00:06:42.232" v="9332" actId="20577"/>
          <ac:spMkLst>
            <pc:docMk/>
            <pc:sldMk cId="1730678069" sldId="2147376807"/>
            <ac:spMk id="176" creationId="{7904F9E7-6A77-80B1-9CDB-2717F95B7975}"/>
          </ac:spMkLst>
        </pc:spChg>
      </pc:sldChg>
      <pc:sldChg chg="modSp add del mod ord">
        <pc:chgData name="Clark, Connie" userId="73351e60-ad32-4085-a232-1d9f9b189479" providerId="ADAL" clId="{5F87A5E2-C2A2-4F23-BC8C-28F7F5EA6CA7}" dt="2024-05-24T00:02:43.346" v="31034" actId="2696"/>
        <pc:sldMkLst>
          <pc:docMk/>
          <pc:sldMk cId="3380529575" sldId="2147376808"/>
        </pc:sldMkLst>
        <pc:spChg chg="mod">
          <ac:chgData name="Clark, Connie" userId="73351e60-ad32-4085-a232-1d9f9b189479" providerId="ADAL" clId="{5F87A5E2-C2A2-4F23-BC8C-28F7F5EA6CA7}" dt="2024-03-30T00:13:19.412" v="10045" actId="1076"/>
          <ac:spMkLst>
            <pc:docMk/>
            <pc:sldMk cId="3380529575" sldId="2147376808"/>
            <ac:spMk id="2" creationId="{43E60B58-F9AB-EF1D-F918-1DD68E3EB78C}"/>
          </ac:spMkLst>
        </pc:spChg>
      </pc:sldChg>
      <pc:sldChg chg="modSp add mod">
        <pc:chgData name="Clark, Connie" userId="73351e60-ad32-4085-a232-1d9f9b189479" providerId="ADAL" clId="{5F87A5E2-C2A2-4F23-BC8C-28F7F5EA6CA7}" dt="2024-03-31T02:46:04.658" v="18514" actId="20577"/>
        <pc:sldMkLst>
          <pc:docMk/>
          <pc:sldMk cId="2556084955" sldId="2147376809"/>
        </pc:sldMkLst>
        <pc:spChg chg="mod">
          <ac:chgData name="Clark, Connie" userId="73351e60-ad32-4085-a232-1d9f9b189479" providerId="ADAL" clId="{5F87A5E2-C2A2-4F23-BC8C-28F7F5EA6CA7}" dt="2024-03-30T00:44:01.764" v="11067" actId="20577"/>
          <ac:spMkLst>
            <pc:docMk/>
            <pc:sldMk cId="2556084955" sldId="2147376809"/>
            <ac:spMk id="3" creationId="{41CDFD70-DE50-1A2C-3F4B-D3109A439ABD}"/>
          </ac:spMkLst>
        </pc:spChg>
        <pc:spChg chg="mod">
          <ac:chgData name="Clark, Connie" userId="73351e60-ad32-4085-a232-1d9f9b189479" providerId="ADAL" clId="{5F87A5E2-C2A2-4F23-BC8C-28F7F5EA6CA7}" dt="2024-03-31T02:45:05.320" v="18490" actId="2"/>
          <ac:spMkLst>
            <pc:docMk/>
            <pc:sldMk cId="2556084955" sldId="2147376809"/>
            <ac:spMk id="9" creationId="{9471083A-98D2-8F37-7493-9C680DF70067}"/>
          </ac:spMkLst>
        </pc:spChg>
        <pc:spChg chg="mod">
          <ac:chgData name="Clark, Connie" userId="73351e60-ad32-4085-a232-1d9f9b189479" providerId="ADAL" clId="{5F87A5E2-C2A2-4F23-BC8C-28F7F5EA6CA7}" dt="2024-03-31T02:46:04.658" v="18514" actId="20577"/>
          <ac:spMkLst>
            <pc:docMk/>
            <pc:sldMk cId="2556084955" sldId="2147376809"/>
            <ac:spMk id="11" creationId="{1833051D-5018-DEC2-8B44-9059B75ED28A}"/>
          </ac:spMkLst>
        </pc:spChg>
      </pc:sldChg>
      <pc:sldChg chg="addSp modSp add del mod ord">
        <pc:chgData name="Clark, Connie" userId="73351e60-ad32-4085-a232-1d9f9b189479" providerId="ADAL" clId="{5F87A5E2-C2A2-4F23-BC8C-28F7F5EA6CA7}" dt="2024-03-31T05:28:42.592" v="21521" actId="47"/>
        <pc:sldMkLst>
          <pc:docMk/>
          <pc:sldMk cId="1187152580" sldId="2147376810"/>
        </pc:sldMkLst>
        <pc:spChg chg="add mod">
          <ac:chgData name="Clark, Connie" userId="73351e60-ad32-4085-a232-1d9f9b189479" providerId="ADAL" clId="{5F87A5E2-C2A2-4F23-BC8C-28F7F5EA6CA7}" dt="2024-03-30T01:59:14.683" v="12859" actId="1076"/>
          <ac:spMkLst>
            <pc:docMk/>
            <pc:sldMk cId="1187152580" sldId="2147376810"/>
            <ac:spMk id="3" creationId="{E9896ABF-530E-9947-0EAF-C3AFA40D9631}"/>
          </ac:spMkLst>
        </pc:spChg>
        <pc:spChg chg="mod">
          <ac:chgData name="Clark, Connie" userId="73351e60-ad32-4085-a232-1d9f9b189479" providerId="ADAL" clId="{5F87A5E2-C2A2-4F23-BC8C-28F7F5EA6CA7}" dt="2024-03-30T01:56:07.960" v="12819" actId="20577"/>
          <ac:spMkLst>
            <pc:docMk/>
            <pc:sldMk cId="1187152580" sldId="2147376810"/>
            <ac:spMk id="162" creationId="{6D947AB7-1774-262F-D522-0BE897BBC2DF}"/>
          </ac:spMkLst>
        </pc:spChg>
        <pc:spChg chg="mod">
          <ac:chgData name="Clark, Connie" userId="73351e60-ad32-4085-a232-1d9f9b189479" providerId="ADAL" clId="{5F87A5E2-C2A2-4F23-BC8C-28F7F5EA6CA7}" dt="2024-03-30T01:58:32.246" v="12854" actId="1037"/>
          <ac:spMkLst>
            <pc:docMk/>
            <pc:sldMk cId="1187152580" sldId="2147376810"/>
            <ac:spMk id="193" creationId="{B4F0F613-6D21-4180-9620-6323706F8A08}"/>
          </ac:spMkLst>
        </pc:spChg>
        <pc:spChg chg="mod">
          <ac:chgData name="Clark, Connie" userId="73351e60-ad32-4085-a232-1d9f9b189479" providerId="ADAL" clId="{5F87A5E2-C2A2-4F23-BC8C-28F7F5EA6CA7}" dt="2024-03-30T01:57:41.448" v="12842" actId="1076"/>
          <ac:spMkLst>
            <pc:docMk/>
            <pc:sldMk cId="1187152580" sldId="2147376810"/>
            <ac:spMk id="196" creationId="{0C54BCB8-69C7-541F-DE82-F67808167BFE}"/>
          </ac:spMkLst>
        </pc:spChg>
        <pc:spChg chg="mod">
          <ac:chgData name="Clark, Connie" userId="73351e60-ad32-4085-a232-1d9f9b189479" providerId="ADAL" clId="{5F87A5E2-C2A2-4F23-BC8C-28F7F5EA6CA7}" dt="2024-03-30T01:57:41.448" v="12842" actId="1076"/>
          <ac:spMkLst>
            <pc:docMk/>
            <pc:sldMk cId="1187152580" sldId="2147376810"/>
            <ac:spMk id="198" creationId="{B6D79510-081E-E331-49D6-B54DE1792C72}"/>
          </ac:spMkLst>
        </pc:spChg>
        <pc:spChg chg="mod">
          <ac:chgData name="Clark, Connie" userId="73351e60-ad32-4085-a232-1d9f9b189479" providerId="ADAL" clId="{5F87A5E2-C2A2-4F23-BC8C-28F7F5EA6CA7}" dt="2024-03-30T01:57:41.448" v="12842" actId="1076"/>
          <ac:spMkLst>
            <pc:docMk/>
            <pc:sldMk cId="1187152580" sldId="2147376810"/>
            <ac:spMk id="200" creationId="{7674B571-E5D4-A4B2-03FC-A21088CD2785}"/>
          </ac:spMkLst>
        </pc:spChg>
        <pc:spChg chg="mod">
          <ac:chgData name="Clark, Connie" userId="73351e60-ad32-4085-a232-1d9f9b189479" providerId="ADAL" clId="{5F87A5E2-C2A2-4F23-BC8C-28F7F5EA6CA7}" dt="2024-03-30T01:57:41.448" v="12842" actId="1076"/>
          <ac:spMkLst>
            <pc:docMk/>
            <pc:sldMk cId="1187152580" sldId="2147376810"/>
            <ac:spMk id="202" creationId="{ED322CA2-82A4-6ED1-A33E-FD4A82C7E638}"/>
          </ac:spMkLst>
        </pc:spChg>
        <pc:spChg chg="mod">
          <ac:chgData name="Clark, Connie" userId="73351e60-ad32-4085-a232-1d9f9b189479" providerId="ADAL" clId="{5F87A5E2-C2A2-4F23-BC8C-28F7F5EA6CA7}" dt="2024-03-30T01:57:41.448" v="12842" actId="1076"/>
          <ac:spMkLst>
            <pc:docMk/>
            <pc:sldMk cId="1187152580" sldId="2147376810"/>
            <ac:spMk id="204" creationId="{8A824EFB-AC65-210A-0B00-99B2FFB481A8}"/>
          </ac:spMkLst>
        </pc:spChg>
        <pc:spChg chg="mod">
          <ac:chgData name="Clark, Connie" userId="73351e60-ad32-4085-a232-1d9f9b189479" providerId="ADAL" clId="{5F87A5E2-C2A2-4F23-BC8C-28F7F5EA6CA7}" dt="2024-03-30T01:57:41.448" v="12842" actId="1076"/>
          <ac:spMkLst>
            <pc:docMk/>
            <pc:sldMk cId="1187152580" sldId="2147376810"/>
            <ac:spMk id="205" creationId="{8779E53B-1BC6-D772-77DE-DFC5D696BCBD}"/>
          </ac:spMkLst>
        </pc:spChg>
        <pc:picChg chg="mod">
          <ac:chgData name="Clark, Connie" userId="73351e60-ad32-4085-a232-1d9f9b189479" providerId="ADAL" clId="{5F87A5E2-C2A2-4F23-BC8C-28F7F5EA6CA7}" dt="2024-03-30T01:58:20.167" v="12849" actId="1076"/>
          <ac:picMkLst>
            <pc:docMk/>
            <pc:sldMk cId="1187152580" sldId="2147376810"/>
            <ac:picMk id="194" creationId="{67659AFF-2CBC-A401-5AAA-E32F4E2CDF5D}"/>
          </ac:picMkLst>
        </pc:picChg>
      </pc:sldChg>
      <pc:sldChg chg="addSp delSp modSp add del mod ord">
        <pc:chgData name="Clark, Connie" userId="73351e60-ad32-4085-a232-1d9f9b189479" providerId="ADAL" clId="{5F87A5E2-C2A2-4F23-BC8C-28F7F5EA6CA7}" dt="2024-05-24T00:09:13.161" v="31035" actId="2696"/>
        <pc:sldMkLst>
          <pc:docMk/>
          <pc:sldMk cId="3064222473" sldId="2147376811"/>
        </pc:sldMkLst>
        <pc:spChg chg="add mod">
          <ac:chgData name="Clark, Connie" userId="73351e60-ad32-4085-a232-1d9f9b189479" providerId="ADAL" clId="{5F87A5E2-C2A2-4F23-BC8C-28F7F5EA6CA7}" dt="2024-03-31T05:21:30.953" v="21491"/>
          <ac:spMkLst>
            <pc:docMk/>
            <pc:sldMk cId="3064222473" sldId="2147376811"/>
            <ac:spMk id="2" creationId="{9F25BA2F-D441-B704-C546-61DF2B53E1A9}"/>
          </ac:spMkLst>
        </pc:spChg>
        <pc:spChg chg="mod">
          <ac:chgData name="Clark, Connie" userId="73351e60-ad32-4085-a232-1d9f9b189479" providerId="ADAL" clId="{5F87A5E2-C2A2-4F23-BC8C-28F7F5EA6CA7}" dt="2024-03-30T01:44:28.314" v="12282" actId="20577"/>
          <ac:spMkLst>
            <pc:docMk/>
            <pc:sldMk cId="3064222473" sldId="2147376811"/>
            <ac:spMk id="3" creationId="{464D618D-8C8A-597D-4A12-E298BE8B5435}"/>
          </ac:spMkLst>
        </pc:spChg>
        <pc:spChg chg="mod">
          <ac:chgData name="Clark, Connie" userId="73351e60-ad32-4085-a232-1d9f9b189479" providerId="ADAL" clId="{5F87A5E2-C2A2-4F23-BC8C-28F7F5EA6CA7}" dt="2024-03-31T05:23:46.641" v="21500" actId="207"/>
          <ac:spMkLst>
            <pc:docMk/>
            <pc:sldMk cId="3064222473" sldId="2147376811"/>
            <ac:spMk id="4" creationId="{7E78FA78-ABD1-E962-7429-A8D1FDE37E9F}"/>
          </ac:spMkLst>
        </pc:spChg>
        <pc:spChg chg="mod">
          <ac:chgData name="Clark, Connie" userId="73351e60-ad32-4085-a232-1d9f9b189479" providerId="ADAL" clId="{5F87A5E2-C2A2-4F23-BC8C-28F7F5EA6CA7}" dt="2024-05-22T01:50:38.404" v="27797" actId="1076"/>
          <ac:spMkLst>
            <pc:docMk/>
            <pc:sldMk cId="3064222473" sldId="2147376811"/>
            <ac:spMk id="5" creationId="{EFFA606A-F1B9-C654-8418-8BF5C56CF0F4}"/>
          </ac:spMkLst>
        </pc:spChg>
        <pc:spChg chg="mod">
          <ac:chgData name="Clark, Connie" userId="73351e60-ad32-4085-a232-1d9f9b189479" providerId="ADAL" clId="{5F87A5E2-C2A2-4F23-BC8C-28F7F5EA6CA7}" dt="2024-03-30T01:46:17.513" v="12317" actId="20577"/>
          <ac:spMkLst>
            <pc:docMk/>
            <pc:sldMk cId="3064222473" sldId="2147376811"/>
            <ac:spMk id="13" creationId="{6453CB8F-D437-AB31-1471-1B424513D2BD}"/>
          </ac:spMkLst>
        </pc:spChg>
        <pc:spChg chg="del">
          <ac:chgData name="Clark, Connie" userId="73351e60-ad32-4085-a232-1d9f9b189479" providerId="ADAL" clId="{5F87A5E2-C2A2-4F23-BC8C-28F7F5EA6CA7}" dt="2024-03-31T05:21:29.540" v="21490" actId="478"/>
          <ac:spMkLst>
            <pc:docMk/>
            <pc:sldMk cId="3064222473" sldId="2147376811"/>
            <ac:spMk id="19" creationId="{EB1B145D-C6D0-7636-B993-3B67735A0205}"/>
          </ac:spMkLst>
        </pc:spChg>
        <pc:cxnChg chg="mod">
          <ac:chgData name="Clark, Connie" userId="73351e60-ad32-4085-a232-1d9f9b189479" providerId="ADAL" clId="{5F87A5E2-C2A2-4F23-BC8C-28F7F5EA6CA7}" dt="2024-03-31T05:23:55.304" v="21501" actId="208"/>
          <ac:cxnSpMkLst>
            <pc:docMk/>
            <pc:sldMk cId="3064222473" sldId="2147376811"/>
            <ac:cxnSpMk id="7" creationId="{85D1103F-6D11-B879-0659-00B1A64C52F1}"/>
          </ac:cxnSpMkLst>
        </pc:cxnChg>
        <pc:cxnChg chg="mod">
          <ac:chgData name="Clark, Connie" userId="73351e60-ad32-4085-a232-1d9f9b189479" providerId="ADAL" clId="{5F87A5E2-C2A2-4F23-BC8C-28F7F5EA6CA7}" dt="2024-03-31T05:23:55.304" v="21501" actId="208"/>
          <ac:cxnSpMkLst>
            <pc:docMk/>
            <pc:sldMk cId="3064222473" sldId="2147376811"/>
            <ac:cxnSpMk id="9" creationId="{26362CCB-3D61-6D87-535C-BBA0B0C11BCA}"/>
          </ac:cxnSpMkLst>
        </pc:cxnChg>
      </pc:sldChg>
      <pc:sldChg chg="addSp delSp modSp add del mod ord">
        <pc:chgData name="Clark, Connie" userId="73351e60-ad32-4085-a232-1d9f9b189479" providerId="ADAL" clId="{5F87A5E2-C2A2-4F23-BC8C-28F7F5EA6CA7}" dt="2024-05-24T00:09:13.161" v="31035" actId="2696"/>
        <pc:sldMkLst>
          <pc:docMk/>
          <pc:sldMk cId="977292228" sldId="2147376812"/>
        </pc:sldMkLst>
        <pc:spChg chg="add mod">
          <ac:chgData name="Clark, Connie" userId="73351e60-ad32-4085-a232-1d9f9b189479" providerId="ADAL" clId="{5F87A5E2-C2A2-4F23-BC8C-28F7F5EA6CA7}" dt="2024-03-31T05:21:38.300" v="21493"/>
          <ac:spMkLst>
            <pc:docMk/>
            <pc:sldMk cId="977292228" sldId="2147376812"/>
            <ac:spMk id="2" creationId="{65947611-D58D-8D48-2B4A-68D43E643ED8}"/>
          </ac:spMkLst>
        </pc:spChg>
        <pc:spChg chg="mod">
          <ac:chgData name="Clark, Connie" userId="73351e60-ad32-4085-a232-1d9f9b189479" providerId="ADAL" clId="{5F87A5E2-C2A2-4F23-BC8C-28F7F5EA6CA7}" dt="2024-03-30T01:51:48.910" v="12749" actId="20577"/>
          <ac:spMkLst>
            <pc:docMk/>
            <pc:sldMk cId="977292228" sldId="2147376812"/>
            <ac:spMk id="3" creationId="{464D618D-8C8A-597D-4A12-E298BE8B5435}"/>
          </ac:spMkLst>
        </pc:spChg>
        <pc:spChg chg="mod">
          <ac:chgData name="Clark, Connie" userId="73351e60-ad32-4085-a232-1d9f9b189479" providerId="ADAL" clId="{5F87A5E2-C2A2-4F23-BC8C-28F7F5EA6CA7}" dt="2024-03-31T05:22:13.811" v="21494" actId="207"/>
          <ac:spMkLst>
            <pc:docMk/>
            <pc:sldMk cId="977292228" sldId="2147376812"/>
            <ac:spMk id="4" creationId="{7E78FA78-ABD1-E962-7429-A8D1FDE37E9F}"/>
          </ac:spMkLst>
        </pc:spChg>
        <pc:spChg chg="mod">
          <ac:chgData name="Clark, Connie" userId="73351e60-ad32-4085-a232-1d9f9b189479" providerId="ADAL" clId="{5F87A5E2-C2A2-4F23-BC8C-28F7F5EA6CA7}" dt="2024-03-30T01:48:09.115" v="12441" actId="1076"/>
          <ac:spMkLst>
            <pc:docMk/>
            <pc:sldMk cId="977292228" sldId="2147376812"/>
            <ac:spMk id="5" creationId="{EFFA606A-F1B9-C654-8418-8BF5C56CF0F4}"/>
          </ac:spMkLst>
        </pc:spChg>
        <pc:spChg chg="mod">
          <ac:chgData name="Clark, Connie" userId="73351e60-ad32-4085-a232-1d9f9b189479" providerId="ADAL" clId="{5F87A5E2-C2A2-4F23-BC8C-28F7F5EA6CA7}" dt="2024-03-30T01:46:36.906" v="12344" actId="20577"/>
          <ac:spMkLst>
            <pc:docMk/>
            <pc:sldMk cId="977292228" sldId="2147376812"/>
            <ac:spMk id="13" creationId="{6453CB8F-D437-AB31-1471-1B424513D2BD}"/>
          </ac:spMkLst>
        </pc:spChg>
        <pc:spChg chg="del">
          <ac:chgData name="Clark, Connie" userId="73351e60-ad32-4085-a232-1d9f9b189479" providerId="ADAL" clId="{5F87A5E2-C2A2-4F23-BC8C-28F7F5EA6CA7}" dt="2024-03-31T05:21:37.112" v="21492" actId="478"/>
          <ac:spMkLst>
            <pc:docMk/>
            <pc:sldMk cId="977292228" sldId="2147376812"/>
            <ac:spMk id="19" creationId="{EB1B145D-C6D0-7636-B993-3B67735A0205}"/>
          </ac:spMkLst>
        </pc:spChg>
      </pc:sldChg>
      <pc:sldChg chg="add del">
        <pc:chgData name="Clark, Connie" userId="73351e60-ad32-4085-a232-1d9f9b189479" providerId="ADAL" clId="{5F87A5E2-C2A2-4F23-BC8C-28F7F5EA6CA7}" dt="2024-03-30T02:00:08.861" v="12863"/>
        <pc:sldMkLst>
          <pc:docMk/>
          <pc:sldMk cId="2322102297" sldId="2147376813"/>
        </pc:sldMkLst>
      </pc:sldChg>
      <pc:sldChg chg="addSp delSp modSp add mod delAnim modAnim">
        <pc:chgData name="Clark, Connie" userId="73351e60-ad32-4085-a232-1d9f9b189479" providerId="ADAL" clId="{5F87A5E2-C2A2-4F23-BC8C-28F7F5EA6CA7}" dt="2024-03-31T03:01:38.138" v="18621" actId="20577"/>
        <pc:sldMkLst>
          <pc:docMk/>
          <pc:sldMk cId="2880425656" sldId="2147376813"/>
        </pc:sldMkLst>
        <pc:spChg chg="mod">
          <ac:chgData name="Clark, Connie" userId="73351e60-ad32-4085-a232-1d9f9b189479" providerId="ADAL" clId="{5F87A5E2-C2A2-4F23-BC8C-28F7F5EA6CA7}" dt="2024-03-30T02:05:20.266" v="12894" actId="1076"/>
          <ac:spMkLst>
            <pc:docMk/>
            <pc:sldMk cId="2880425656" sldId="2147376813"/>
            <ac:spMk id="3" creationId="{E9896ABF-530E-9947-0EAF-C3AFA40D9631}"/>
          </ac:spMkLst>
        </pc:spChg>
        <pc:spChg chg="add del mod">
          <ac:chgData name="Clark, Connie" userId="73351e60-ad32-4085-a232-1d9f9b189479" providerId="ADAL" clId="{5F87A5E2-C2A2-4F23-BC8C-28F7F5EA6CA7}" dt="2024-03-30T02:12:29.615" v="12943" actId="478"/>
          <ac:spMkLst>
            <pc:docMk/>
            <pc:sldMk cId="2880425656" sldId="2147376813"/>
            <ac:spMk id="4" creationId="{E217066B-E269-5CD2-0150-8967F40EC646}"/>
          </ac:spMkLst>
        </pc:spChg>
        <pc:spChg chg="add mod">
          <ac:chgData name="Clark, Connie" userId="73351e60-ad32-4085-a232-1d9f9b189479" providerId="ADAL" clId="{5F87A5E2-C2A2-4F23-BC8C-28F7F5EA6CA7}" dt="2024-03-30T02:15:00.153" v="12955" actId="207"/>
          <ac:spMkLst>
            <pc:docMk/>
            <pc:sldMk cId="2880425656" sldId="2147376813"/>
            <ac:spMk id="8" creationId="{373BFBD3-079B-8C6A-FEB2-965A52167FA8}"/>
          </ac:spMkLst>
        </pc:spChg>
        <pc:spChg chg="add mod">
          <ac:chgData name="Clark, Connie" userId="73351e60-ad32-4085-a232-1d9f9b189479" providerId="ADAL" clId="{5F87A5E2-C2A2-4F23-BC8C-28F7F5EA6CA7}" dt="2024-03-30T02:13:19.549" v="12947"/>
          <ac:spMkLst>
            <pc:docMk/>
            <pc:sldMk cId="2880425656" sldId="2147376813"/>
            <ac:spMk id="9" creationId="{3D0B5BEB-603A-2B4B-8C8A-DF00CF532FD1}"/>
          </ac:spMkLst>
        </pc:spChg>
        <pc:spChg chg="add mod">
          <ac:chgData name="Clark, Connie" userId="73351e60-ad32-4085-a232-1d9f9b189479" providerId="ADAL" clId="{5F87A5E2-C2A2-4F23-BC8C-28F7F5EA6CA7}" dt="2024-03-30T02:13:19.549" v="12947"/>
          <ac:spMkLst>
            <pc:docMk/>
            <pc:sldMk cId="2880425656" sldId="2147376813"/>
            <ac:spMk id="11" creationId="{4175E2A9-1011-D5E3-B282-86ED36F58239}"/>
          </ac:spMkLst>
        </pc:spChg>
        <pc:spChg chg="add mod">
          <ac:chgData name="Clark, Connie" userId="73351e60-ad32-4085-a232-1d9f9b189479" providerId="ADAL" clId="{5F87A5E2-C2A2-4F23-BC8C-28F7F5EA6CA7}" dt="2024-03-30T02:13:19.549" v="12947"/>
          <ac:spMkLst>
            <pc:docMk/>
            <pc:sldMk cId="2880425656" sldId="2147376813"/>
            <ac:spMk id="12" creationId="{F8DA5BD0-DF36-0B34-03C5-B46AA67D85C8}"/>
          </ac:spMkLst>
        </pc:spChg>
        <pc:spChg chg="add mod">
          <ac:chgData name="Clark, Connie" userId="73351e60-ad32-4085-a232-1d9f9b189479" providerId="ADAL" clId="{5F87A5E2-C2A2-4F23-BC8C-28F7F5EA6CA7}" dt="2024-03-30T02:13:19.549" v="12947"/>
          <ac:spMkLst>
            <pc:docMk/>
            <pc:sldMk cId="2880425656" sldId="2147376813"/>
            <ac:spMk id="13" creationId="{426CB96F-0867-9ED0-44C2-347D2D9A5D5A}"/>
          </ac:spMkLst>
        </pc:spChg>
        <pc:spChg chg="add mod">
          <ac:chgData name="Clark, Connie" userId="73351e60-ad32-4085-a232-1d9f9b189479" providerId="ADAL" clId="{5F87A5E2-C2A2-4F23-BC8C-28F7F5EA6CA7}" dt="2024-03-30T02:13:19.549" v="12947"/>
          <ac:spMkLst>
            <pc:docMk/>
            <pc:sldMk cId="2880425656" sldId="2147376813"/>
            <ac:spMk id="14" creationId="{38885BDA-5CAA-2218-E049-C31F4AB4E70A}"/>
          </ac:spMkLst>
        </pc:spChg>
        <pc:spChg chg="add mod">
          <ac:chgData name="Clark, Connie" userId="73351e60-ad32-4085-a232-1d9f9b189479" providerId="ADAL" clId="{5F87A5E2-C2A2-4F23-BC8C-28F7F5EA6CA7}" dt="2024-03-30T02:13:19.549" v="12947"/>
          <ac:spMkLst>
            <pc:docMk/>
            <pc:sldMk cId="2880425656" sldId="2147376813"/>
            <ac:spMk id="15" creationId="{E0063A0E-906C-D7EC-0A3C-248B08535445}"/>
          </ac:spMkLst>
        </pc:spChg>
        <pc:spChg chg="add mod">
          <ac:chgData name="Clark, Connie" userId="73351e60-ad32-4085-a232-1d9f9b189479" providerId="ADAL" clId="{5F87A5E2-C2A2-4F23-BC8C-28F7F5EA6CA7}" dt="2024-03-30T02:13:19.549" v="12947"/>
          <ac:spMkLst>
            <pc:docMk/>
            <pc:sldMk cId="2880425656" sldId="2147376813"/>
            <ac:spMk id="16" creationId="{0C9104E7-DC72-84CF-FF2A-5798EA27ACFC}"/>
          </ac:spMkLst>
        </pc:spChg>
        <pc:spChg chg="add mod">
          <ac:chgData name="Clark, Connie" userId="73351e60-ad32-4085-a232-1d9f9b189479" providerId="ADAL" clId="{5F87A5E2-C2A2-4F23-BC8C-28F7F5EA6CA7}" dt="2024-03-30T02:13:19.549" v="12947"/>
          <ac:spMkLst>
            <pc:docMk/>
            <pc:sldMk cId="2880425656" sldId="2147376813"/>
            <ac:spMk id="18" creationId="{25719651-C09B-E49D-AD25-FF580983A0B2}"/>
          </ac:spMkLst>
        </pc:spChg>
        <pc:spChg chg="add mod">
          <ac:chgData name="Clark, Connie" userId="73351e60-ad32-4085-a232-1d9f9b189479" providerId="ADAL" clId="{5F87A5E2-C2A2-4F23-BC8C-28F7F5EA6CA7}" dt="2024-03-30T02:13:19.549" v="12947"/>
          <ac:spMkLst>
            <pc:docMk/>
            <pc:sldMk cId="2880425656" sldId="2147376813"/>
            <ac:spMk id="24" creationId="{982E968C-9809-7188-0D78-680B1FAEC55C}"/>
          </ac:spMkLst>
        </pc:spChg>
        <pc:spChg chg="add mod">
          <ac:chgData name="Clark, Connie" userId="73351e60-ad32-4085-a232-1d9f9b189479" providerId="ADAL" clId="{5F87A5E2-C2A2-4F23-BC8C-28F7F5EA6CA7}" dt="2024-03-30T02:13:19.549" v="12947"/>
          <ac:spMkLst>
            <pc:docMk/>
            <pc:sldMk cId="2880425656" sldId="2147376813"/>
            <ac:spMk id="25" creationId="{9B230AE6-9630-459E-8F3C-662406FB59DD}"/>
          </ac:spMkLst>
        </pc:spChg>
        <pc:spChg chg="add mod">
          <ac:chgData name="Clark, Connie" userId="73351e60-ad32-4085-a232-1d9f9b189479" providerId="ADAL" clId="{5F87A5E2-C2A2-4F23-BC8C-28F7F5EA6CA7}" dt="2024-03-30T02:13:19.549" v="12947"/>
          <ac:spMkLst>
            <pc:docMk/>
            <pc:sldMk cId="2880425656" sldId="2147376813"/>
            <ac:spMk id="26" creationId="{DE5FC7A5-D2A8-0C68-0193-738047B8FE04}"/>
          </ac:spMkLst>
        </pc:spChg>
        <pc:spChg chg="add mod">
          <ac:chgData name="Clark, Connie" userId="73351e60-ad32-4085-a232-1d9f9b189479" providerId="ADAL" clId="{5F87A5E2-C2A2-4F23-BC8C-28F7F5EA6CA7}" dt="2024-03-30T02:13:19.549" v="12947"/>
          <ac:spMkLst>
            <pc:docMk/>
            <pc:sldMk cId="2880425656" sldId="2147376813"/>
            <ac:spMk id="27" creationId="{B2865BF3-CEEF-5DD4-EEE9-1C6C56787CEE}"/>
          </ac:spMkLst>
        </pc:spChg>
        <pc:spChg chg="add mod">
          <ac:chgData name="Clark, Connie" userId="73351e60-ad32-4085-a232-1d9f9b189479" providerId="ADAL" clId="{5F87A5E2-C2A2-4F23-BC8C-28F7F5EA6CA7}" dt="2024-03-30T02:13:19.549" v="12947"/>
          <ac:spMkLst>
            <pc:docMk/>
            <pc:sldMk cId="2880425656" sldId="2147376813"/>
            <ac:spMk id="28" creationId="{CB5152C7-2D49-BBDD-F9FE-B8CB61677483}"/>
          </ac:spMkLst>
        </pc:spChg>
        <pc:spChg chg="add mod">
          <ac:chgData name="Clark, Connie" userId="73351e60-ad32-4085-a232-1d9f9b189479" providerId="ADAL" clId="{5F87A5E2-C2A2-4F23-BC8C-28F7F5EA6CA7}" dt="2024-03-30T02:13:19.549" v="12947"/>
          <ac:spMkLst>
            <pc:docMk/>
            <pc:sldMk cId="2880425656" sldId="2147376813"/>
            <ac:spMk id="29" creationId="{56BC7BB5-7DD7-558F-7476-22A40884698E}"/>
          </ac:spMkLst>
        </pc:spChg>
        <pc:spChg chg="add mod">
          <ac:chgData name="Clark, Connie" userId="73351e60-ad32-4085-a232-1d9f9b189479" providerId="ADAL" clId="{5F87A5E2-C2A2-4F23-BC8C-28F7F5EA6CA7}" dt="2024-03-30T02:13:19.549" v="12947"/>
          <ac:spMkLst>
            <pc:docMk/>
            <pc:sldMk cId="2880425656" sldId="2147376813"/>
            <ac:spMk id="30" creationId="{79731670-616F-9C48-8DD5-DED26CA50788}"/>
          </ac:spMkLst>
        </pc:spChg>
        <pc:spChg chg="add mod">
          <ac:chgData name="Clark, Connie" userId="73351e60-ad32-4085-a232-1d9f9b189479" providerId="ADAL" clId="{5F87A5E2-C2A2-4F23-BC8C-28F7F5EA6CA7}" dt="2024-03-30T02:13:19.549" v="12947"/>
          <ac:spMkLst>
            <pc:docMk/>
            <pc:sldMk cId="2880425656" sldId="2147376813"/>
            <ac:spMk id="31" creationId="{116D82DE-5302-3805-00DD-4F5119716001}"/>
          </ac:spMkLst>
        </pc:spChg>
        <pc:spChg chg="add mod">
          <ac:chgData name="Clark, Connie" userId="73351e60-ad32-4085-a232-1d9f9b189479" providerId="ADAL" clId="{5F87A5E2-C2A2-4F23-BC8C-28F7F5EA6CA7}" dt="2024-03-30T02:13:19.549" v="12947"/>
          <ac:spMkLst>
            <pc:docMk/>
            <pc:sldMk cId="2880425656" sldId="2147376813"/>
            <ac:spMk id="64" creationId="{29F45A9F-03BE-B198-44BE-ED71C1137ADE}"/>
          </ac:spMkLst>
        </pc:spChg>
        <pc:spChg chg="add mod">
          <ac:chgData name="Clark, Connie" userId="73351e60-ad32-4085-a232-1d9f9b189479" providerId="ADAL" clId="{5F87A5E2-C2A2-4F23-BC8C-28F7F5EA6CA7}" dt="2024-03-30T02:13:19.549" v="12947"/>
          <ac:spMkLst>
            <pc:docMk/>
            <pc:sldMk cId="2880425656" sldId="2147376813"/>
            <ac:spMk id="65" creationId="{AD72888E-65EF-F6D8-EA2D-94044C757A42}"/>
          </ac:spMkLst>
        </pc:spChg>
        <pc:spChg chg="add mod">
          <ac:chgData name="Clark, Connie" userId="73351e60-ad32-4085-a232-1d9f9b189479" providerId="ADAL" clId="{5F87A5E2-C2A2-4F23-BC8C-28F7F5EA6CA7}" dt="2024-03-30T02:13:19.549" v="12947"/>
          <ac:spMkLst>
            <pc:docMk/>
            <pc:sldMk cId="2880425656" sldId="2147376813"/>
            <ac:spMk id="70" creationId="{D076952D-B35D-3B9C-103E-05B20CE00979}"/>
          </ac:spMkLst>
        </pc:spChg>
        <pc:spChg chg="add mod">
          <ac:chgData name="Clark, Connie" userId="73351e60-ad32-4085-a232-1d9f9b189479" providerId="ADAL" clId="{5F87A5E2-C2A2-4F23-BC8C-28F7F5EA6CA7}" dt="2024-03-30T02:13:19.549" v="12947"/>
          <ac:spMkLst>
            <pc:docMk/>
            <pc:sldMk cId="2880425656" sldId="2147376813"/>
            <ac:spMk id="71" creationId="{D1CD820F-074D-F7DC-7897-9661B5D1531F}"/>
          </ac:spMkLst>
        </pc:spChg>
        <pc:spChg chg="add mod">
          <ac:chgData name="Clark, Connie" userId="73351e60-ad32-4085-a232-1d9f9b189479" providerId="ADAL" clId="{5F87A5E2-C2A2-4F23-BC8C-28F7F5EA6CA7}" dt="2024-03-30T02:13:19.549" v="12947"/>
          <ac:spMkLst>
            <pc:docMk/>
            <pc:sldMk cId="2880425656" sldId="2147376813"/>
            <ac:spMk id="77" creationId="{D7DDE2B6-59F8-F39E-B1A2-AEC810108068}"/>
          </ac:spMkLst>
        </pc:spChg>
        <pc:spChg chg="add mod">
          <ac:chgData name="Clark, Connie" userId="73351e60-ad32-4085-a232-1d9f9b189479" providerId="ADAL" clId="{5F87A5E2-C2A2-4F23-BC8C-28F7F5EA6CA7}" dt="2024-03-30T02:13:19.549" v="12947"/>
          <ac:spMkLst>
            <pc:docMk/>
            <pc:sldMk cId="2880425656" sldId="2147376813"/>
            <ac:spMk id="78" creationId="{D2934F56-B21E-F904-BA63-C26B47439693}"/>
          </ac:spMkLst>
        </pc:spChg>
        <pc:spChg chg="add mod">
          <ac:chgData name="Clark, Connie" userId="73351e60-ad32-4085-a232-1d9f9b189479" providerId="ADAL" clId="{5F87A5E2-C2A2-4F23-BC8C-28F7F5EA6CA7}" dt="2024-03-30T02:13:19.549" v="12947"/>
          <ac:spMkLst>
            <pc:docMk/>
            <pc:sldMk cId="2880425656" sldId="2147376813"/>
            <ac:spMk id="79" creationId="{63AC1DEF-C494-37AB-7FBC-FA9C65E82FB6}"/>
          </ac:spMkLst>
        </pc:spChg>
        <pc:spChg chg="add mod">
          <ac:chgData name="Clark, Connie" userId="73351e60-ad32-4085-a232-1d9f9b189479" providerId="ADAL" clId="{5F87A5E2-C2A2-4F23-BC8C-28F7F5EA6CA7}" dt="2024-03-30T02:13:19.549" v="12947"/>
          <ac:spMkLst>
            <pc:docMk/>
            <pc:sldMk cId="2880425656" sldId="2147376813"/>
            <ac:spMk id="80" creationId="{CC68A107-03B1-78A5-E173-BA9AE1DAC72F}"/>
          </ac:spMkLst>
        </pc:spChg>
        <pc:spChg chg="add mod">
          <ac:chgData name="Clark, Connie" userId="73351e60-ad32-4085-a232-1d9f9b189479" providerId="ADAL" clId="{5F87A5E2-C2A2-4F23-BC8C-28F7F5EA6CA7}" dt="2024-03-30T02:13:19.549" v="12947"/>
          <ac:spMkLst>
            <pc:docMk/>
            <pc:sldMk cId="2880425656" sldId="2147376813"/>
            <ac:spMk id="81" creationId="{B80559E4-9343-C4AE-F985-1DF01B27873E}"/>
          </ac:spMkLst>
        </pc:spChg>
        <pc:spChg chg="add mod">
          <ac:chgData name="Clark, Connie" userId="73351e60-ad32-4085-a232-1d9f9b189479" providerId="ADAL" clId="{5F87A5E2-C2A2-4F23-BC8C-28F7F5EA6CA7}" dt="2024-03-30T02:13:19.549" v="12947"/>
          <ac:spMkLst>
            <pc:docMk/>
            <pc:sldMk cId="2880425656" sldId="2147376813"/>
            <ac:spMk id="82" creationId="{79761279-39E0-0F78-6ED2-7F4CFCC5033B}"/>
          </ac:spMkLst>
        </pc:spChg>
        <pc:spChg chg="add mod">
          <ac:chgData name="Clark, Connie" userId="73351e60-ad32-4085-a232-1d9f9b189479" providerId="ADAL" clId="{5F87A5E2-C2A2-4F23-BC8C-28F7F5EA6CA7}" dt="2024-03-30T02:13:19.549" v="12947"/>
          <ac:spMkLst>
            <pc:docMk/>
            <pc:sldMk cId="2880425656" sldId="2147376813"/>
            <ac:spMk id="83" creationId="{CBA9E031-67B5-950D-F76C-F79B2AFAE9B3}"/>
          </ac:spMkLst>
        </pc:spChg>
        <pc:spChg chg="add mod">
          <ac:chgData name="Clark, Connie" userId="73351e60-ad32-4085-a232-1d9f9b189479" providerId="ADAL" clId="{5F87A5E2-C2A2-4F23-BC8C-28F7F5EA6CA7}" dt="2024-03-30T02:13:19.549" v="12947"/>
          <ac:spMkLst>
            <pc:docMk/>
            <pc:sldMk cId="2880425656" sldId="2147376813"/>
            <ac:spMk id="84" creationId="{B1EC81DB-862C-6C49-8C78-5489B6DF3094}"/>
          </ac:spMkLst>
        </pc:spChg>
        <pc:spChg chg="del">
          <ac:chgData name="Clark, Connie" userId="73351e60-ad32-4085-a232-1d9f9b189479" providerId="ADAL" clId="{5F87A5E2-C2A2-4F23-BC8C-28F7F5EA6CA7}" dt="2024-03-30T02:10:26.201" v="12925" actId="478"/>
          <ac:spMkLst>
            <pc:docMk/>
            <pc:sldMk cId="2880425656" sldId="2147376813"/>
            <ac:spMk id="85" creationId="{1CFFAF8D-67F2-DF15-F82F-870FA99E3431}"/>
          </ac:spMkLst>
        </pc:spChg>
        <pc:spChg chg="del">
          <ac:chgData name="Clark, Connie" userId="73351e60-ad32-4085-a232-1d9f9b189479" providerId="ADAL" clId="{5F87A5E2-C2A2-4F23-BC8C-28F7F5EA6CA7}" dt="2024-03-30T02:10:26.201" v="12925" actId="478"/>
          <ac:spMkLst>
            <pc:docMk/>
            <pc:sldMk cId="2880425656" sldId="2147376813"/>
            <ac:spMk id="86" creationId="{B02BF1D3-E738-C943-5EE9-A726C31F8940}"/>
          </ac:spMkLst>
        </pc:spChg>
        <pc:spChg chg="del">
          <ac:chgData name="Clark, Connie" userId="73351e60-ad32-4085-a232-1d9f9b189479" providerId="ADAL" clId="{5F87A5E2-C2A2-4F23-BC8C-28F7F5EA6CA7}" dt="2024-03-30T02:10:26.201" v="12925" actId="478"/>
          <ac:spMkLst>
            <pc:docMk/>
            <pc:sldMk cId="2880425656" sldId="2147376813"/>
            <ac:spMk id="87" creationId="{48409EDB-6031-5382-6A9D-6B2745D8F10D}"/>
          </ac:spMkLst>
        </pc:spChg>
        <pc:spChg chg="del">
          <ac:chgData name="Clark, Connie" userId="73351e60-ad32-4085-a232-1d9f9b189479" providerId="ADAL" clId="{5F87A5E2-C2A2-4F23-BC8C-28F7F5EA6CA7}" dt="2024-03-30T02:10:26.201" v="12925" actId="478"/>
          <ac:spMkLst>
            <pc:docMk/>
            <pc:sldMk cId="2880425656" sldId="2147376813"/>
            <ac:spMk id="88" creationId="{88A3E0C2-FE66-0248-E11A-16E9E713A66F}"/>
          </ac:spMkLst>
        </pc:spChg>
        <pc:spChg chg="del">
          <ac:chgData name="Clark, Connie" userId="73351e60-ad32-4085-a232-1d9f9b189479" providerId="ADAL" clId="{5F87A5E2-C2A2-4F23-BC8C-28F7F5EA6CA7}" dt="2024-03-30T02:10:26.201" v="12925" actId="478"/>
          <ac:spMkLst>
            <pc:docMk/>
            <pc:sldMk cId="2880425656" sldId="2147376813"/>
            <ac:spMk id="89" creationId="{2FF838F0-C393-9F9E-6434-F898B9179A9E}"/>
          </ac:spMkLst>
        </pc:spChg>
        <pc:spChg chg="del">
          <ac:chgData name="Clark, Connie" userId="73351e60-ad32-4085-a232-1d9f9b189479" providerId="ADAL" clId="{5F87A5E2-C2A2-4F23-BC8C-28F7F5EA6CA7}" dt="2024-03-30T02:10:26.201" v="12925" actId="478"/>
          <ac:spMkLst>
            <pc:docMk/>
            <pc:sldMk cId="2880425656" sldId="2147376813"/>
            <ac:spMk id="90" creationId="{1F09CF1B-827A-3454-3D42-08EA5AB69F1E}"/>
          </ac:spMkLst>
        </pc:spChg>
        <pc:spChg chg="del">
          <ac:chgData name="Clark, Connie" userId="73351e60-ad32-4085-a232-1d9f9b189479" providerId="ADAL" clId="{5F87A5E2-C2A2-4F23-BC8C-28F7F5EA6CA7}" dt="2024-03-30T02:10:28.802" v="12926" actId="478"/>
          <ac:spMkLst>
            <pc:docMk/>
            <pc:sldMk cId="2880425656" sldId="2147376813"/>
            <ac:spMk id="91" creationId="{D004112F-3178-7999-01BE-58FAA3FBFBA2}"/>
          </ac:spMkLst>
        </pc:spChg>
        <pc:spChg chg="del">
          <ac:chgData name="Clark, Connie" userId="73351e60-ad32-4085-a232-1d9f9b189479" providerId="ADAL" clId="{5F87A5E2-C2A2-4F23-BC8C-28F7F5EA6CA7}" dt="2024-03-30T02:10:28.802" v="12926" actId="478"/>
          <ac:spMkLst>
            <pc:docMk/>
            <pc:sldMk cId="2880425656" sldId="2147376813"/>
            <ac:spMk id="93" creationId="{1340A11F-E13A-8CC0-624F-F99E8B7E8A53}"/>
          </ac:spMkLst>
        </pc:spChg>
        <pc:spChg chg="del">
          <ac:chgData name="Clark, Connie" userId="73351e60-ad32-4085-a232-1d9f9b189479" providerId="ADAL" clId="{5F87A5E2-C2A2-4F23-BC8C-28F7F5EA6CA7}" dt="2024-03-30T02:10:26.201" v="12925" actId="478"/>
          <ac:spMkLst>
            <pc:docMk/>
            <pc:sldMk cId="2880425656" sldId="2147376813"/>
            <ac:spMk id="99" creationId="{12396BF8-2AD2-4EC9-A7E5-5F12A155E600}"/>
          </ac:spMkLst>
        </pc:spChg>
        <pc:spChg chg="del">
          <ac:chgData name="Clark, Connie" userId="73351e60-ad32-4085-a232-1d9f9b189479" providerId="ADAL" clId="{5F87A5E2-C2A2-4F23-BC8C-28F7F5EA6CA7}" dt="2024-03-30T02:10:26.201" v="12925" actId="478"/>
          <ac:spMkLst>
            <pc:docMk/>
            <pc:sldMk cId="2880425656" sldId="2147376813"/>
            <ac:spMk id="100" creationId="{7D5168EF-ADE6-6BE0-0C88-F9ACA3EA8F68}"/>
          </ac:spMkLst>
        </pc:spChg>
        <pc:spChg chg="del">
          <ac:chgData name="Clark, Connie" userId="73351e60-ad32-4085-a232-1d9f9b189479" providerId="ADAL" clId="{5F87A5E2-C2A2-4F23-BC8C-28F7F5EA6CA7}" dt="2024-03-30T02:10:26.201" v="12925" actId="478"/>
          <ac:spMkLst>
            <pc:docMk/>
            <pc:sldMk cId="2880425656" sldId="2147376813"/>
            <ac:spMk id="101" creationId="{DAF0725E-6E91-67CD-6C77-3E750B0F7390}"/>
          </ac:spMkLst>
        </pc:spChg>
        <pc:spChg chg="del">
          <ac:chgData name="Clark, Connie" userId="73351e60-ad32-4085-a232-1d9f9b189479" providerId="ADAL" clId="{5F87A5E2-C2A2-4F23-BC8C-28F7F5EA6CA7}" dt="2024-03-30T02:10:26.201" v="12925" actId="478"/>
          <ac:spMkLst>
            <pc:docMk/>
            <pc:sldMk cId="2880425656" sldId="2147376813"/>
            <ac:spMk id="102" creationId="{5E0F7BF7-BA5F-EACD-EC97-6458A9FA7BAA}"/>
          </ac:spMkLst>
        </pc:spChg>
        <pc:spChg chg="del">
          <ac:chgData name="Clark, Connie" userId="73351e60-ad32-4085-a232-1d9f9b189479" providerId="ADAL" clId="{5F87A5E2-C2A2-4F23-BC8C-28F7F5EA6CA7}" dt="2024-03-30T02:10:26.201" v="12925" actId="478"/>
          <ac:spMkLst>
            <pc:docMk/>
            <pc:sldMk cId="2880425656" sldId="2147376813"/>
            <ac:spMk id="103" creationId="{389392DC-E912-053F-CCC7-8472FE8566B5}"/>
          </ac:spMkLst>
        </pc:spChg>
        <pc:spChg chg="del">
          <ac:chgData name="Clark, Connie" userId="73351e60-ad32-4085-a232-1d9f9b189479" providerId="ADAL" clId="{5F87A5E2-C2A2-4F23-BC8C-28F7F5EA6CA7}" dt="2024-03-30T02:10:26.201" v="12925" actId="478"/>
          <ac:spMkLst>
            <pc:docMk/>
            <pc:sldMk cId="2880425656" sldId="2147376813"/>
            <ac:spMk id="104" creationId="{B9DBBF45-9B29-998D-EEAF-A3E5CD5F5413}"/>
          </ac:spMkLst>
        </pc:spChg>
        <pc:spChg chg="del">
          <ac:chgData name="Clark, Connie" userId="73351e60-ad32-4085-a232-1d9f9b189479" providerId="ADAL" clId="{5F87A5E2-C2A2-4F23-BC8C-28F7F5EA6CA7}" dt="2024-03-30T02:10:26.201" v="12925" actId="478"/>
          <ac:spMkLst>
            <pc:docMk/>
            <pc:sldMk cId="2880425656" sldId="2147376813"/>
            <ac:spMk id="105" creationId="{8F8D0633-26A0-BD1D-CDB5-9DDF3C418DD8}"/>
          </ac:spMkLst>
        </pc:spChg>
        <pc:spChg chg="del">
          <ac:chgData name="Clark, Connie" userId="73351e60-ad32-4085-a232-1d9f9b189479" providerId="ADAL" clId="{5F87A5E2-C2A2-4F23-BC8C-28F7F5EA6CA7}" dt="2024-03-30T02:10:26.201" v="12925" actId="478"/>
          <ac:spMkLst>
            <pc:docMk/>
            <pc:sldMk cId="2880425656" sldId="2147376813"/>
            <ac:spMk id="106" creationId="{061C84DF-D61D-903C-F8BF-64C60903EA13}"/>
          </ac:spMkLst>
        </pc:spChg>
        <pc:spChg chg="del">
          <ac:chgData name="Clark, Connie" userId="73351e60-ad32-4085-a232-1d9f9b189479" providerId="ADAL" clId="{5F87A5E2-C2A2-4F23-BC8C-28F7F5EA6CA7}" dt="2024-03-30T02:10:26.201" v="12925" actId="478"/>
          <ac:spMkLst>
            <pc:docMk/>
            <pc:sldMk cId="2880425656" sldId="2147376813"/>
            <ac:spMk id="107" creationId="{BD64F859-C9E8-FB49-4455-409CB227200E}"/>
          </ac:spMkLst>
        </pc:spChg>
        <pc:spChg chg="del">
          <ac:chgData name="Clark, Connie" userId="73351e60-ad32-4085-a232-1d9f9b189479" providerId="ADAL" clId="{5F87A5E2-C2A2-4F23-BC8C-28F7F5EA6CA7}" dt="2024-03-30T02:10:26.201" v="12925" actId="478"/>
          <ac:spMkLst>
            <pc:docMk/>
            <pc:sldMk cId="2880425656" sldId="2147376813"/>
            <ac:spMk id="108" creationId="{FFFDC234-9D05-3B23-862A-D89D0F4D2498}"/>
          </ac:spMkLst>
        </pc:spChg>
        <pc:spChg chg="del">
          <ac:chgData name="Clark, Connie" userId="73351e60-ad32-4085-a232-1d9f9b189479" providerId="ADAL" clId="{5F87A5E2-C2A2-4F23-BC8C-28F7F5EA6CA7}" dt="2024-03-30T02:10:26.201" v="12925" actId="478"/>
          <ac:spMkLst>
            <pc:docMk/>
            <pc:sldMk cId="2880425656" sldId="2147376813"/>
            <ac:spMk id="113" creationId="{A5115668-4E9D-4999-D9CE-1B1A371E4021}"/>
          </ac:spMkLst>
        </pc:spChg>
        <pc:spChg chg="del">
          <ac:chgData name="Clark, Connie" userId="73351e60-ad32-4085-a232-1d9f9b189479" providerId="ADAL" clId="{5F87A5E2-C2A2-4F23-BC8C-28F7F5EA6CA7}" dt="2024-03-30T02:10:26.201" v="12925" actId="478"/>
          <ac:spMkLst>
            <pc:docMk/>
            <pc:sldMk cId="2880425656" sldId="2147376813"/>
            <ac:spMk id="114" creationId="{B6C82F5B-E655-2D81-7769-9F48A46C1EC0}"/>
          </ac:spMkLst>
        </pc:spChg>
        <pc:spChg chg="add mod">
          <ac:chgData name="Clark, Connie" userId="73351e60-ad32-4085-a232-1d9f9b189479" providerId="ADAL" clId="{5F87A5E2-C2A2-4F23-BC8C-28F7F5EA6CA7}" dt="2024-03-30T02:13:19.549" v="12947"/>
          <ac:spMkLst>
            <pc:docMk/>
            <pc:sldMk cId="2880425656" sldId="2147376813"/>
            <ac:spMk id="115" creationId="{BE0CA4B9-5A51-D55F-CD28-AE1CCB858F0E}"/>
          </ac:spMkLst>
        </pc:spChg>
        <pc:spChg chg="add mod">
          <ac:chgData name="Clark, Connie" userId="73351e60-ad32-4085-a232-1d9f9b189479" providerId="ADAL" clId="{5F87A5E2-C2A2-4F23-BC8C-28F7F5EA6CA7}" dt="2024-03-30T02:13:19.549" v="12947"/>
          <ac:spMkLst>
            <pc:docMk/>
            <pc:sldMk cId="2880425656" sldId="2147376813"/>
            <ac:spMk id="116" creationId="{C3625D53-B1BE-DC90-94D6-F79546B8DD21}"/>
          </ac:spMkLst>
        </pc:spChg>
        <pc:spChg chg="add mod">
          <ac:chgData name="Clark, Connie" userId="73351e60-ad32-4085-a232-1d9f9b189479" providerId="ADAL" clId="{5F87A5E2-C2A2-4F23-BC8C-28F7F5EA6CA7}" dt="2024-03-30T02:13:19.549" v="12947"/>
          <ac:spMkLst>
            <pc:docMk/>
            <pc:sldMk cId="2880425656" sldId="2147376813"/>
            <ac:spMk id="117" creationId="{268B320B-B6BE-E15B-0C56-E3D2CA2DCA50}"/>
          </ac:spMkLst>
        </pc:spChg>
        <pc:spChg chg="del">
          <ac:chgData name="Clark, Connie" userId="73351e60-ad32-4085-a232-1d9f9b189479" providerId="ADAL" clId="{5F87A5E2-C2A2-4F23-BC8C-28F7F5EA6CA7}" dt="2024-03-30T02:10:26.201" v="12925" actId="478"/>
          <ac:spMkLst>
            <pc:docMk/>
            <pc:sldMk cId="2880425656" sldId="2147376813"/>
            <ac:spMk id="123" creationId="{90E3E005-3FB8-8148-9A72-014011CDF181}"/>
          </ac:spMkLst>
        </pc:spChg>
        <pc:spChg chg="del">
          <ac:chgData name="Clark, Connie" userId="73351e60-ad32-4085-a232-1d9f9b189479" providerId="ADAL" clId="{5F87A5E2-C2A2-4F23-BC8C-28F7F5EA6CA7}" dt="2024-03-30T02:10:26.201" v="12925" actId="478"/>
          <ac:spMkLst>
            <pc:docMk/>
            <pc:sldMk cId="2880425656" sldId="2147376813"/>
            <ac:spMk id="124" creationId="{4075E8B1-49FC-3AF8-E84E-015F29C6713F}"/>
          </ac:spMkLst>
        </pc:spChg>
        <pc:spChg chg="del">
          <ac:chgData name="Clark, Connie" userId="73351e60-ad32-4085-a232-1d9f9b189479" providerId="ADAL" clId="{5F87A5E2-C2A2-4F23-BC8C-28F7F5EA6CA7}" dt="2024-03-30T02:10:26.201" v="12925" actId="478"/>
          <ac:spMkLst>
            <pc:docMk/>
            <pc:sldMk cId="2880425656" sldId="2147376813"/>
            <ac:spMk id="125" creationId="{FA6CCBB3-FD21-9FCD-FEDF-11D2F765E76F}"/>
          </ac:spMkLst>
        </pc:spChg>
        <pc:spChg chg="del">
          <ac:chgData name="Clark, Connie" userId="73351e60-ad32-4085-a232-1d9f9b189479" providerId="ADAL" clId="{5F87A5E2-C2A2-4F23-BC8C-28F7F5EA6CA7}" dt="2024-03-30T02:10:26.201" v="12925" actId="478"/>
          <ac:spMkLst>
            <pc:docMk/>
            <pc:sldMk cId="2880425656" sldId="2147376813"/>
            <ac:spMk id="126" creationId="{D96BE001-6396-B631-1018-85B3BC6A1E56}"/>
          </ac:spMkLst>
        </pc:spChg>
        <pc:spChg chg="del">
          <ac:chgData name="Clark, Connie" userId="73351e60-ad32-4085-a232-1d9f9b189479" providerId="ADAL" clId="{5F87A5E2-C2A2-4F23-BC8C-28F7F5EA6CA7}" dt="2024-03-30T02:10:26.201" v="12925" actId="478"/>
          <ac:spMkLst>
            <pc:docMk/>
            <pc:sldMk cId="2880425656" sldId="2147376813"/>
            <ac:spMk id="127" creationId="{71043FD1-B956-AB46-1ED6-1E17F0E92DFC}"/>
          </ac:spMkLst>
        </pc:spChg>
        <pc:spChg chg="del">
          <ac:chgData name="Clark, Connie" userId="73351e60-ad32-4085-a232-1d9f9b189479" providerId="ADAL" clId="{5F87A5E2-C2A2-4F23-BC8C-28F7F5EA6CA7}" dt="2024-03-30T02:10:26.201" v="12925" actId="478"/>
          <ac:spMkLst>
            <pc:docMk/>
            <pc:sldMk cId="2880425656" sldId="2147376813"/>
            <ac:spMk id="128" creationId="{A5FEA061-87E5-0826-984B-621F3E972534}"/>
          </ac:spMkLst>
        </pc:spChg>
        <pc:spChg chg="del">
          <ac:chgData name="Clark, Connie" userId="73351e60-ad32-4085-a232-1d9f9b189479" providerId="ADAL" clId="{5F87A5E2-C2A2-4F23-BC8C-28F7F5EA6CA7}" dt="2024-03-30T02:10:26.201" v="12925" actId="478"/>
          <ac:spMkLst>
            <pc:docMk/>
            <pc:sldMk cId="2880425656" sldId="2147376813"/>
            <ac:spMk id="129" creationId="{41ADCCF3-89DD-D44A-D4CD-AD8023402933}"/>
          </ac:spMkLst>
        </pc:spChg>
        <pc:spChg chg="del">
          <ac:chgData name="Clark, Connie" userId="73351e60-ad32-4085-a232-1d9f9b189479" providerId="ADAL" clId="{5F87A5E2-C2A2-4F23-BC8C-28F7F5EA6CA7}" dt="2024-03-30T02:10:26.201" v="12925" actId="478"/>
          <ac:spMkLst>
            <pc:docMk/>
            <pc:sldMk cId="2880425656" sldId="2147376813"/>
            <ac:spMk id="130" creationId="{30F32150-0615-06F3-B76F-0C0D37BDED49}"/>
          </ac:spMkLst>
        </pc:spChg>
        <pc:spChg chg="del">
          <ac:chgData name="Clark, Connie" userId="73351e60-ad32-4085-a232-1d9f9b189479" providerId="ADAL" clId="{5F87A5E2-C2A2-4F23-BC8C-28F7F5EA6CA7}" dt="2024-03-30T02:10:26.201" v="12925" actId="478"/>
          <ac:spMkLst>
            <pc:docMk/>
            <pc:sldMk cId="2880425656" sldId="2147376813"/>
            <ac:spMk id="131" creationId="{EE28AADF-235A-B25A-9BF3-CC6A15D204AA}"/>
          </ac:spMkLst>
        </pc:spChg>
        <pc:spChg chg="del">
          <ac:chgData name="Clark, Connie" userId="73351e60-ad32-4085-a232-1d9f9b189479" providerId="ADAL" clId="{5F87A5E2-C2A2-4F23-BC8C-28F7F5EA6CA7}" dt="2024-03-30T02:10:26.201" v="12925" actId="478"/>
          <ac:spMkLst>
            <pc:docMk/>
            <pc:sldMk cId="2880425656" sldId="2147376813"/>
            <ac:spMk id="132" creationId="{A3719DA0-2D5A-2B55-949D-BCAFDB241E2F}"/>
          </ac:spMkLst>
        </pc:spChg>
        <pc:spChg chg="del">
          <ac:chgData name="Clark, Connie" userId="73351e60-ad32-4085-a232-1d9f9b189479" providerId="ADAL" clId="{5F87A5E2-C2A2-4F23-BC8C-28F7F5EA6CA7}" dt="2024-03-30T02:10:26.201" v="12925" actId="478"/>
          <ac:spMkLst>
            <pc:docMk/>
            <pc:sldMk cId="2880425656" sldId="2147376813"/>
            <ac:spMk id="133" creationId="{D6D37596-4256-6D84-8678-4045124E0976}"/>
          </ac:spMkLst>
        </pc:spChg>
        <pc:spChg chg="del">
          <ac:chgData name="Clark, Connie" userId="73351e60-ad32-4085-a232-1d9f9b189479" providerId="ADAL" clId="{5F87A5E2-C2A2-4F23-BC8C-28F7F5EA6CA7}" dt="2024-03-30T02:10:26.201" v="12925" actId="478"/>
          <ac:spMkLst>
            <pc:docMk/>
            <pc:sldMk cId="2880425656" sldId="2147376813"/>
            <ac:spMk id="134" creationId="{B1933A00-0A48-C6ED-8E8E-88F242DB9F12}"/>
          </ac:spMkLst>
        </pc:spChg>
        <pc:spChg chg="del">
          <ac:chgData name="Clark, Connie" userId="73351e60-ad32-4085-a232-1d9f9b189479" providerId="ADAL" clId="{5F87A5E2-C2A2-4F23-BC8C-28F7F5EA6CA7}" dt="2024-03-30T02:10:26.201" v="12925" actId="478"/>
          <ac:spMkLst>
            <pc:docMk/>
            <pc:sldMk cId="2880425656" sldId="2147376813"/>
            <ac:spMk id="135" creationId="{B39499A8-FF3F-53B4-6BB5-17571D585BC8}"/>
          </ac:spMkLst>
        </pc:spChg>
        <pc:spChg chg="del mod">
          <ac:chgData name="Clark, Connie" userId="73351e60-ad32-4085-a232-1d9f9b189479" providerId="ADAL" clId="{5F87A5E2-C2A2-4F23-BC8C-28F7F5EA6CA7}" dt="2024-03-30T02:10:26.201" v="12925" actId="478"/>
          <ac:spMkLst>
            <pc:docMk/>
            <pc:sldMk cId="2880425656" sldId="2147376813"/>
            <ac:spMk id="136" creationId="{17C6E940-6F41-5862-A818-030385902E23}"/>
          </ac:spMkLst>
        </pc:spChg>
        <pc:spChg chg="add mod">
          <ac:chgData name="Clark, Connie" userId="73351e60-ad32-4085-a232-1d9f9b189479" providerId="ADAL" clId="{5F87A5E2-C2A2-4F23-BC8C-28F7F5EA6CA7}" dt="2024-03-30T02:13:19.549" v="12947"/>
          <ac:spMkLst>
            <pc:docMk/>
            <pc:sldMk cId="2880425656" sldId="2147376813"/>
            <ac:spMk id="137" creationId="{AC40E3BB-3286-7937-FCEC-BA63E3EC7816}"/>
          </ac:spMkLst>
        </pc:spChg>
        <pc:spChg chg="add mod">
          <ac:chgData name="Clark, Connie" userId="73351e60-ad32-4085-a232-1d9f9b189479" providerId="ADAL" clId="{5F87A5E2-C2A2-4F23-BC8C-28F7F5EA6CA7}" dt="2024-03-30T02:13:19.549" v="12947"/>
          <ac:spMkLst>
            <pc:docMk/>
            <pc:sldMk cId="2880425656" sldId="2147376813"/>
            <ac:spMk id="138" creationId="{DC5F2403-B38F-CC4F-D404-C8B58FC7E59A}"/>
          </ac:spMkLst>
        </pc:spChg>
        <pc:spChg chg="del">
          <ac:chgData name="Clark, Connie" userId="73351e60-ad32-4085-a232-1d9f9b189479" providerId="ADAL" clId="{5F87A5E2-C2A2-4F23-BC8C-28F7F5EA6CA7}" dt="2024-03-30T02:10:26.201" v="12925" actId="478"/>
          <ac:spMkLst>
            <pc:docMk/>
            <pc:sldMk cId="2880425656" sldId="2147376813"/>
            <ac:spMk id="139" creationId="{6FD6685D-4203-7D03-DAEC-CE9CBA1E0A5F}"/>
          </ac:spMkLst>
        </pc:spChg>
        <pc:spChg chg="del">
          <ac:chgData name="Clark, Connie" userId="73351e60-ad32-4085-a232-1d9f9b189479" providerId="ADAL" clId="{5F87A5E2-C2A2-4F23-BC8C-28F7F5EA6CA7}" dt="2024-03-30T02:10:26.201" v="12925" actId="478"/>
          <ac:spMkLst>
            <pc:docMk/>
            <pc:sldMk cId="2880425656" sldId="2147376813"/>
            <ac:spMk id="140" creationId="{793A8C67-03F3-B049-66B8-C30C1FD3629F}"/>
          </ac:spMkLst>
        </pc:spChg>
        <pc:spChg chg="del">
          <ac:chgData name="Clark, Connie" userId="73351e60-ad32-4085-a232-1d9f9b189479" providerId="ADAL" clId="{5F87A5E2-C2A2-4F23-BC8C-28F7F5EA6CA7}" dt="2024-03-30T02:10:26.201" v="12925" actId="478"/>
          <ac:spMkLst>
            <pc:docMk/>
            <pc:sldMk cId="2880425656" sldId="2147376813"/>
            <ac:spMk id="142" creationId="{71E8D36D-5D8F-A85E-6C55-B3CD86A79A91}"/>
          </ac:spMkLst>
        </pc:spChg>
        <pc:spChg chg="del">
          <ac:chgData name="Clark, Connie" userId="73351e60-ad32-4085-a232-1d9f9b189479" providerId="ADAL" clId="{5F87A5E2-C2A2-4F23-BC8C-28F7F5EA6CA7}" dt="2024-03-30T02:10:26.201" v="12925" actId="478"/>
          <ac:spMkLst>
            <pc:docMk/>
            <pc:sldMk cId="2880425656" sldId="2147376813"/>
            <ac:spMk id="143" creationId="{8EBFEE5D-04BF-7AA8-22F2-203C0F190942}"/>
          </ac:spMkLst>
        </pc:spChg>
        <pc:spChg chg="del">
          <ac:chgData name="Clark, Connie" userId="73351e60-ad32-4085-a232-1d9f9b189479" providerId="ADAL" clId="{5F87A5E2-C2A2-4F23-BC8C-28F7F5EA6CA7}" dt="2024-03-30T02:10:26.201" v="12925" actId="478"/>
          <ac:spMkLst>
            <pc:docMk/>
            <pc:sldMk cId="2880425656" sldId="2147376813"/>
            <ac:spMk id="147" creationId="{73372E18-42B4-C4AF-F036-ED93EF904F85}"/>
          </ac:spMkLst>
        </pc:spChg>
        <pc:spChg chg="del">
          <ac:chgData name="Clark, Connie" userId="73351e60-ad32-4085-a232-1d9f9b189479" providerId="ADAL" clId="{5F87A5E2-C2A2-4F23-BC8C-28F7F5EA6CA7}" dt="2024-03-30T02:10:26.201" v="12925" actId="478"/>
          <ac:spMkLst>
            <pc:docMk/>
            <pc:sldMk cId="2880425656" sldId="2147376813"/>
            <ac:spMk id="148" creationId="{3AA418C2-4437-57D0-7340-C11112637033}"/>
          </ac:spMkLst>
        </pc:spChg>
        <pc:spChg chg="del">
          <ac:chgData name="Clark, Connie" userId="73351e60-ad32-4085-a232-1d9f9b189479" providerId="ADAL" clId="{5F87A5E2-C2A2-4F23-BC8C-28F7F5EA6CA7}" dt="2024-03-30T02:10:26.201" v="12925" actId="478"/>
          <ac:spMkLst>
            <pc:docMk/>
            <pc:sldMk cId="2880425656" sldId="2147376813"/>
            <ac:spMk id="150" creationId="{DC02DC64-44E5-23E2-312B-F780523F138F}"/>
          </ac:spMkLst>
        </pc:spChg>
        <pc:spChg chg="del">
          <ac:chgData name="Clark, Connie" userId="73351e60-ad32-4085-a232-1d9f9b189479" providerId="ADAL" clId="{5F87A5E2-C2A2-4F23-BC8C-28F7F5EA6CA7}" dt="2024-03-30T02:10:26.201" v="12925" actId="478"/>
          <ac:spMkLst>
            <pc:docMk/>
            <pc:sldMk cId="2880425656" sldId="2147376813"/>
            <ac:spMk id="153" creationId="{A5D84D0A-55B5-84F4-4CEC-FAC3896098C5}"/>
          </ac:spMkLst>
        </pc:spChg>
        <pc:spChg chg="add mod">
          <ac:chgData name="Clark, Connie" userId="73351e60-ad32-4085-a232-1d9f9b189479" providerId="ADAL" clId="{5F87A5E2-C2A2-4F23-BC8C-28F7F5EA6CA7}" dt="2024-03-30T02:13:19.549" v="12947"/>
          <ac:spMkLst>
            <pc:docMk/>
            <pc:sldMk cId="2880425656" sldId="2147376813"/>
            <ac:spMk id="155" creationId="{EAB704B3-4676-4B4D-0A71-3005983317C7}"/>
          </ac:spMkLst>
        </pc:spChg>
        <pc:spChg chg="add mod">
          <ac:chgData name="Clark, Connie" userId="73351e60-ad32-4085-a232-1d9f9b189479" providerId="ADAL" clId="{5F87A5E2-C2A2-4F23-BC8C-28F7F5EA6CA7}" dt="2024-03-30T02:13:19.549" v="12947"/>
          <ac:spMkLst>
            <pc:docMk/>
            <pc:sldMk cId="2880425656" sldId="2147376813"/>
            <ac:spMk id="156" creationId="{7AA524EF-9AB9-BA01-FCCA-FAB77B8DF8DB}"/>
          </ac:spMkLst>
        </pc:spChg>
        <pc:spChg chg="add mod">
          <ac:chgData name="Clark, Connie" userId="73351e60-ad32-4085-a232-1d9f9b189479" providerId="ADAL" clId="{5F87A5E2-C2A2-4F23-BC8C-28F7F5EA6CA7}" dt="2024-03-30T02:13:19.549" v="12947"/>
          <ac:spMkLst>
            <pc:docMk/>
            <pc:sldMk cId="2880425656" sldId="2147376813"/>
            <ac:spMk id="157" creationId="{E05BFA8C-81AA-D03B-6904-2DFAECDB81D8}"/>
          </ac:spMkLst>
        </pc:spChg>
        <pc:spChg chg="del">
          <ac:chgData name="Clark, Connie" userId="73351e60-ad32-4085-a232-1d9f9b189479" providerId="ADAL" clId="{5F87A5E2-C2A2-4F23-BC8C-28F7F5EA6CA7}" dt="2024-03-30T02:10:28.802" v="12926" actId="478"/>
          <ac:spMkLst>
            <pc:docMk/>
            <pc:sldMk cId="2880425656" sldId="2147376813"/>
            <ac:spMk id="159" creationId="{CAD2F19B-3B73-081A-2020-15F2F4CF4636}"/>
          </ac:spMkLst>
        </pc:spChg>
        <pc:spChg chg="del">
          <ac:chgData name="Clark, Connie" userId="73351e60-ad32-4085-a232-1d9f9b189479" providerId="ADAL" clId="{5F87A5E2-C2A2-4F23-BC8C-28F7F5EA6CA7}" dt="2024-03-30T02:10:28.802" v="12926" actId="478"/>
          <ac:spMkLst>
            <pc:docMk/>
            <pc:sldMk cId="2880425656" sldId="2147376813"/>
            <ac:spMk id="160" creationId="{3025646D-C33F-17EB-BB86-8E677B1AF685}"/>
          </ac:spMkLst>
        </pc:spChg>
        <pc:spChg chg="del">
          <ac:chgData name="Clark, Connie" userId="73351e60-ad32-4085-a232-1d9f9b189479" providerId="ADAL" clId="{5F87A5E2-C2A2-4F23-BC8C-28F7F5EA6CA7}" dt="2024-03-30T02:10:28.802" v="12926" actId="478"/>
          <ac:spMkLst>
            <pc:docMk/>
            <pc:sldMk cId="2880425656" sldId="2147376813"/>
            <ac:spMk id="162" creationId="{6D947AB7-1774-262F-D522-0BE897BBC2DF}"/>
          </ac:spMkLst>
        </pc:spChg>
        <pc:spChg chg="add mod">
          <ac:chgData name="Clark, Connie" userId="73351e60-ad32-4085-a232-1d9f9b189479" providerId="ADAL" clId="{5F87A5E2-C2A2-4F23-BC8C-28F7F5EA6CA7}" dt="2024-03-30T02:13:19.549" v="12947"/>
          <ac:spMkLst>
            <pc:docMk/>
            <pc:sldMk cId="2880425656" sldId="2147376813"/>
            <ac:spMk id="164" creationId="{873F29F3-F2C7-2CDA-8230-1F726FCE60A7}"/>
          </ac:spMkLst>
        </pc:spChg>
        <pc:spChg chg="add mod">
          <ac:chgData name="Clark, Connie" userId="73351e60-ad32-4085-a232-1d9f9b189479" providerId="ADAL" clId="{5F87A5E2-C2A2-4F23-BC8C-28F7F5EA6CA7}" dt="2024-03-30T02:13:19.549" v="12947"/>
          <ac:spMkLst>
            <pc:docMk/>
            <pc:sldMk cId="2880425656" sldId="2147376813"/>
            <ac:spMk id="165" creationId="{79943462-014C-6F92-BC26-D45419FA748F}"/>
          </ac:spMkLst>
        </pc:spChg>
        <pc:spChg chg="add mod">
          <ac:chgData name="Clark, Connie" userId="73351e60-ad32-4085-a232-1d9f9b189479" providerId="ADAL" clId="{5F87A5E2-C2A2-4F23-BC8C-28F7F5EA6CA7}" dt="2024-03-30T02:13:19.549" v="12947"/>
          <ac:spMkLst>
            <pc:docMk/>
            <pc:sldMk cId="2880425656" sldId="2147376813"/>
            <ac:spMk id="169" creationId="{39BBDADB-E24F-D941-44D6-1B7EB5C64CBC}"/>
          </ac:spMkLst>
        </pc:spChg>
        <pc:spChg chg="add mod">
          <ac:chgData name="Clark, Connie" userId="73351e60-ad32-4085-a232-1d9f9b189479" providerId="ADAL" clId="{5F87A5E2-C2A2-4F23-BC8C-28F7F5EA6CA7}" dt="2024-03-30T02:13:19.549" v="12947"/>
          <ac:spMkLst>
            <pc:docMk/>
            <pc:sldMk cId="2880425656" sldId="2147376813"/>
            <ac:spMk id="170" creationId="{FBD6246D-8F0F-45D8-DC2B-04DDAC90CC72}"/>
          </ac:spMkLst>
        </pc:spChg>
        <pc:spChg chg="add mod">
          <ac:chgData name="Clark, Connie" userId="73351e60-ad32-4085-a232-1d9f9b189479" providerId="ADAL" clId="{5F87A5E2-C2A2-4F23-BC8C-28F7F5EA6CA7}" dt="2024-03-30T02:13:19.549" v="12947"/>
          <ac:spMkLst>
            <pc:docMk/>
            <pc:sldMk cId="2880425656" sldId="2147376813"/>
            <ac:spMk id="172" creationId="{FC1F68DA-184F-B4F2-18C8-28F9B32C6D85}"/>
          </ac:spMkLst>
        </pc:spChg>
        <pc:spChg chg="add mod">
          <ac:chgData name="Clark, Connie" userId="73351e60-ad32-4085-a232-1d9f9b189479" providerId="ADAL" clId="{5F87A5E2-C2A2-4F23-BC8C-28F7F5EA6CA7}" dt="2024-03-30T02:13:19.549" v="12947"/>
          <ac:spMkLst>
            <pc:docMk/>
            <pc:sldMk cId="2880425656" sldId="2147376813"/>
            <ac:spMk id="175" creationId="{E4964855-7CC5-2CBF-32BE-6929012E5777}"/>
          </ac:spMkLst>
        </pc:spChg>
        <pc:spChg chg="mod">
          <ac:chgData name="Clark, Connie" userId="73351e60-ad32-4085-a232-1d9f9b189479" providerId="ADAL" clId="{5F87A5E2-C2A2-4F23-BC8C-28F7F5EA6CA7}" dt="2024-03-31T03:01:38.138" v="18621" actId="20577"/>
          <ac:spMkLst>
            <pc:docMk/>
            <pc:sldMk cId="2880425656" sldId="2147376813"/>
            <ac:spMk id="176" creationId="{7904F9E7-6A77-80B1-9CDB-2717F95B7975}"/>
          </ac:spMkLst>
        </pc:spChg>
        <pc:spChg chg="mod">
          <ac:chgData name="Clark, Connie" userId="73351e60-ad32-4085-a232-1d9f9b189479" providerId="ADAL" clId="{5F87A5E2-C2A2-4F23-BC8C-28F7F5EA6CA7}" dt="2024-03-31T02:45:07.389" v="18491" actId="2"/>
          <ac:spMkLst>
            <pc:docMk/>
            <pc:sldMk cId="2880425656" sldId="2147376813"/>
            <ac:spMk id="177" creationId="{17B6D0C4-6F94-BA62-2289-990E84E4C233}"/>
          </ac:spMkLst>
        </pc:spChg>
        <pc:spChg chg="add mod">
          <ac:chgData name="Clark, Connie" userId="73351e60-ad32-4085-a232-1d9f9b189479" providerId="ADAL" clId="{5F87A5E2-C2A2-4F23-BC8C-28F7F5EA6CA7}" dt="2024-03-30T02:13:19.549" v="12947"/>
          <ac:spMkLst>
            <pc:docMk/>
            <pc:sldMk cId="2880425656" sldId="2147376813"/>
            <ac:spMk id="180" creationId="{27045DF4-A58E-FF7B-503D-8254AF3AF3D7}"/>
          </ac:spMkLst>
        </pc:spChg>
        <pc:spChg chg="add mod">
          <ac:chgData name="Clark, Connie" userId="73351e60-ad32-4085-a232-1d9f9b189479" providerId="ADAL" clId="{5F87A5E2-C2A2-4F23-BC8C-28F7F5EA6CA7}" dt="2024-03-30T02:13:19.549" v="12947"/>
          <ac:spMkLst>
            <pc:docMk/>
            <pc:sldMk cId="2880425656" sldId="2147376813"/>
            <ac:spMk id="181" creationId="{746F579B-85D4-30EA-141E-5F244E708088}"/>
          </ac:spMkLst>
        </pc:spChg>
        <pc:spChg chg="add mod">
          <ac:chgData name="Clark, Connie" userId="73351e60-ad32-4085-a232-1d9f9b189479" providerId="ADAL" clId="{5F87A5E2-C2A2-4F23-BC8C-28F7F5EA6CA7}" dt="2024-03-30T02:13:19.549" v="12947"/>
          <ac:spMkLst>
            <pc:docMk/>
            <pc:sldMk cId="2880425656" sldId="2147376813"/>
            <ac:spMk id="183" creationId="{75BFC022-E04E-CF00-EC63-D5AE41812362}"/>
          </ac:spMkLst>
        </pc:spChg>
        <pc:spChg chg="mod">
          <ac:chgData name="Clark, Connie" userId="73351e60-ad32-4085-a232-1d9f9b189479" providerId="ADAL" clId="{5F87A5E2-C2A2-4F23-BC8C-28F7F5EA6CA7}" dt="2024-03-30T02:07:45.584" v="12903" actId="20577"/>
          <ac:spMkLst>
            <pc:docMk/>
            <pc:sldMk cId="2880425656" sldId="2147376813"/>
            <ac:spMk id="196" creationId="{0C54BCB8-69C7-541F-DE82-F67808167BFE}"/>
          </ac:spMkLst>
        </pc:spChg>
        <pc:spChg chg="mod">
          <ac:chgData name="Clark, Connie" userId="73351e60-ad32-4085-a232-1d9f9b189479" providerId="ADAL" clId="{5F87A5E2-C2A2-4F23-BC8C-28F7F5EA6CA7}" dt="2024-03-30T02:04:54.203" v="12890" actId="1076"/>
          <ac:spMkLst>
            <pc:docMk/>
            <pc:sldMk cId="2880425656" sldId="2147376813"/>
            <ac:spMk id="198" creationId="{B6D79510-081E-E331-49D6-B54DE1792C72}"/>
          </ac:spMkLst>
        </pc:spChg>
        <pc:spChg chg="mod">
          <ac:chgData name="Clark, Connie" userId="73351e60-ad32-4085-a232-1d9f9b189479" providerId="ADAL" clId="{5F87A5E2-C2A2-4F23-BC8C-28F7F5EA6CA7}" dt="2024-03-30T02:07:51.272" v="12905" actId="20577"/>
          <ac:spMkLst>
            <pc:docMk/>
            <pc:sldMk cId="2880425656" sldId="2147376813"/>
            <ac:spMk id="200" creationId="{7674B571-E5D4-A4B2-03FC-A21088CD2785}"/>
          </ac:spMkLst>
        </pc:spChg>
        <pc:spChg chg="mod">
          <ac:chgData name="Clark, Connie" userId="73351e60-ad32-4085-a232-1d9f9b189479" providerId="ADAL" clId="{5F87A5E2-C2A2-4F23-BC8C-28F7F5EA6CA7}" dt="2024-03-30T02:05:03.353" v="12892" actId="1076"/>
          <ac:spMkLst>
            <pc:docMk/>
            <pc:sldMk cId="2880425656" sldId="2147376813"/>
            <ac:spMk id="202" creationId="{ED322CA2-82A4-6ED1-A33E-FD4A82C7E638}"/>
          </ac:spMkLst>
        </pc:spChg>
        <pc:spChg chg="mod">
          <ac:chgData name="Clark, Connie" userId="73351e60-ad32-4085-a232-1d9f9b189479" providerId="ADAL" clId="{5F87A5E2-C2A2-4F23-BC8C-28F7F5EA6CA7}" dt="2024-03-30T02:05:13.280" v="12893" actId="1076"/>
          <ac:spMkLst>
            <pc:docMk/>
            <pc:sldMk cId="2880425656" sldId="2147376813"/>
            <ac:spMk id="204" creationId="{8A824EFB-AC65-210A-0B00-99B2FFB481A8}"/>
          </ac:spMkLst>
        </pc:spChg>
        <pc:spChg chg="mod">
          <ac:chgData name="Clark, Connie" userId="73351e60-ad32-4085-a232-1d9f9b189479" providerId="ADAL" clId="{5F87A5E2-C2A2-4F23-BC8C-28F7F5EA6CA7}" dt="2024-03-30T02:04:48.398" v="12889" actId="1076"/>
          <ac:spMkLst>
            <pc:docMk/>
            <pc:sldMk cId="2880425656" sldId="2147376813"/>
            <ac:spMk id="205" creationId="{8779E53B-1BC6-D772-77DE-DFC5D696BCBD}"/>
          </ac:spMkLst>
        </pc:spChg>
        <pc:picChg chg="add del mod">
          <ac:chgData name="Clark, Connie" userId="73351e60-ad32-4085-a232-1d9f9b189479" providerId="ADAL" clId="{5F87A5E2-C2A2-4F23-BC8C-28F7F5EA6CA7}" dt="2024-03-30T02:12:56.587" v="12946" actId="478"/>
          <ac:picMkLst>
            <pc:docMk/>
            <pc:sldMk cId="2880425656" sldId="2147376813"/>
            <ac:picMk id="7" creationId="{56C39463-39D4-CDA6-4356-AE80AF6E30E0}"/>
          </ac:picMkLst>
        </pc:picChg>
        <pc:picChg chg="mod">
          <ac:chgData name="Clark, Connie" userId="73351e60-ad32-4085-a232-1d9f9b189479" providerId="ADAL" clId="{5F87A5E2-C2A2-4F23-BC8C-28F7F5EA6CA7}" dt="2024-03-30T02:04:34.295" v="12885" actId="1076"/>
          <ac:picMkLst>
            <pc:docMk/>
            <pc:sldMk cId="2880425656" sldId="2147376813"/>
            <ac:picMk id="194" creationId="{67659AFF-2CBC-A401-5AAA-E32F4E2CDF5D}"/>
          </ac:picMkLst>
        </pc:picChg>
        <pc:cxnChg chg="add mod">
          <ac:chgData name="Clark, Connie" userId="73351e60-ad32-4085-a232-1d9f9b189479" providerId="ADAL" clId="{5F87A5E2-C2A2-4F23-BC8C-28F7F5EA6CA7}" dt="2024-03-30T02:13:19.549" v="12947"/>
          <ac:cxnSpMkLst>
            <pc:docMk/>
            <pc:sldMk cId="2880425656" sldId="2147376813"/>
            <ac:cxnSpMk id="17" creationId="{7D2FF75F-F7A4-D20D-8E4A-72D44C2B008C}"/>
          </ac:cxnSpMkLst>
        </pc:cxnChg>
        <pc:cxnChg chg="add mod">
          <ac:chgData name="Clark, Connie" userId="73351e60-ad32-4085-a232-1d9f9b189479" providerId="ADAL" clId="{5F87A5E2-C2A2-4F23-BC8C-28F7F5EA6CA7}" dt="2024-03-30T02:13:19.549" v="12947"/>
          <ac:cxnSpMkLst>
            <pc:docMk/>
            <pc:sldMk cId="2880425656" sldId="2147376813"/>
            <ac:cxnSpMk id="19" creationId="{E5A7DF1F-BE97-DAB3-8C0C-E3BDAEC15717}"/>
          </ac:cxnSpMkLst>
        </pc:cxnChg>
        <pc:cxnChg chg="add mod">
          <ac:chgData name="Clark, Connie" userId="73351e60-ad32-4085-a232-1d9f9b189479" providerId="ADAL" clId="{5F87A5E2-C2A2-4F23-BC8C-28F7F5EA6CA7}" dt="2024-03-30T02:13:19.549" v="12947"/>
          <ac:cxnSpMkLst>
            <pc:docMk/>
            <pc:sldMk cId="2880425656" sldId="2147376813"/>
            <ac:cxnSpMk id="20" creationId="{399156C7-C8E5-382B-B383-93E3F8531CBB}"/>
          </ac:cxnSpMkLst>
        </pc:cxnChg>
        <pc:cxnChg chg="add mod">
          <ac:chgData name="Clark, Connie" userId="73351e60-ad32-4085-a232-1d9f9b189479" providerId="ADAL" clId="{5F87A5E2-C2A2-4F23-BC8C-28F7F5EA6CA7}" dt="2024-03-30T02:13:19.549" v="12947"/>
          <ac:cxnSpMkLst>
            <pc:docMk/>
            <pc:sldMk cId="2880425656" sldId="2147376813"/>
            <ac:cxnSpMk id="21" creationId="{3A58E60E-0DD6-9D43-56A3-28A6B3A0B577}"/>
          </ac:cxnSpMkLst>
        </pc:cxnChg>
        <pc:cxnChg chg="add mod">
          <ac:chgData name="Clark, Connie" userId="73351e60-ad32-4085-a232-1d9f9b189479" providerId="ADAL" clId="{5F87A5E2-C2A2-4F23-BC8C-28F7F5EA6CA7}" dt="2024-03-30T02:13:19.549" v="12947"/>
          <ac:cxnSpMkLst>
            <pc:docMk/>
            <pc:sldMk cId="2880425656" sldId="2147376813"/>
            <ac:cxnSpMk id="22" creationId="{42DDBFDC-A14F-CCA5-B1C7-638AEE0B3FF7}"/>
          </ac:cxnSpMkLst>
        </pc:cxnChg>
        <pc:cxnChg chg="add mod">
          <ac:chgData name="Clark, Connie" userId="73351e60-ad32-4085-a232-1d9f9b189479" providerId="ADAL" clId="{5F87A5E2-C2A2-4F23-BC8C-28F7F5EA6CA7}" dt="2024-03-30T02:13:19.549" v="12947"/>
          <ac:cxnSpMkLst>
            <pc:docMk/>
            <pc:sldMk cId="2880425656" sldId="2147376813"/>
            <ac:cxnSpMk id="23" creationId="{6F84AC00-1A5D-068F-9241-EC1908D704B0}"/>
          </ac:cxnSpMkLst>
        </pc:cxnChg>
        <pc:cxnChg chg="add mod">
          <ac:chgData name="Clark, Connie" userId="73351e60-ad32-4085-a232-1d9f9b189479" providerId="ADAL" clId="{5F87A5E2-C2A2-4F23-BC8C-28F7F5EA6CA7}" dt="2024-03-30T02:13:19.549" v="12947"/>
          <ac:cxnSpMkLst>
            <pc:docMk/>
            <pc:sldMk cId="2880425656" sldId="2147376813"/>
            <ac:cxnSpMk id="66" creationId="{85A8846F-9B1C-A2A6-7C58-0ED822E0DFA0}"/>
          </ac:cxnSpMkLst>
        </pc:cxnChg>
        <pc:cxnChg chg="add mod">
          <ac:chgData name="Clark, Connie" userId="73351e60-ad32-4085-a232-1d9f9b189479" providerId="ADAL" clId="{5F87A5E2-C2A2-4F23-BC8C-28F7F5EA6CA7}" dt="2024-03-30T02:13:19.549" v="12947"/>
          <ac:cxnSpMkLst>
            <pc:docMk/>
            <pc:sldMk cId="2880425656" sldId="2147376813"/>
            <ac:cxnSpMk id="67" creationId="{4E669F4F-1E46-0C0A-E530-6E99F2D6CE25}"/>
          </ac:cxnSpMkLst>
        </pc:cxnChg>
        <pc:cxnChg chg="add mod">
          <ac:chgData name="Clark, Connie" userId="73351e60-ad32-4085-a232-1d9f9b189479" providerId="ADAL" clId="{5F87A5E2-C2A2-4F23-BC8C-28F7F5EA6CA7}" dt="2024-03-30T02:13:19.549" v="12947"/>
          <ac:cxnSpMkLst>
            <pc:docMk/>
            <pc:sldMk cId="2880425656" sldId="2147376813"/>
            <ac:cxnSpMk id="68" creationId="{4EFB23D7-0EAF-23B4-9987-8DC3E7AFD9C2}"/>
          </ac:cxnSpMkLst>
        </pc:cxnChg>
        <pc:cxnChg chg="add mod">
          <ac:chgData name="Clark, Connie" userId="73351e60-ad32-4085-a232-1d9f9b189479" providerId="ADAL" clId="{5F87A5E2-C2A2-4F23-BC8C-28F7F5EA6CA7}" dt="2024-03-30T02:13:19.549" v="12947"/>
          <ac:cxnSpMkLst>
            <pc:docMk/>
            <pc:sldMk cId="2880425656" sldId="2147376813"/>
            <ac:cxnSpMk id="69" creationId="{F3B531AB-EA1C-4D42-B73A-A3C7CA8ECCF6}"/>
          </ac:cxnSpMkLst>
        </pc:cxnChg>
        <pc:cxnChg chg="add mod">
          <ac:chgData name="Clark, Connie" userId="73351e60-ad32-4085-a232-1d9f9b189479" providerId="ADAL" clId="{5F87A5E2-C2A2-4F23-BC8C-28F7F5EA6CA7}" dt="2024-03-30T02:13:19.549" v="12947"/>
          <ac:cxnSpMkLst>
            <pc:docMk/>
            <pc:sldMk cId="2880425656" sldId="2147376813"/>
            <ac:cxnSpMk id="72" creationId="{66917DBD-B8B2-E2E3-D915-7F016CE88D91}"/>
          </ac:cxnSpMkLst>
        </pc:cxnChg>
        <pc:cxnChg chg="add mod">
          <ac:chgData name="Clark, Connie" userId="73351e60-ad32-4085-a232-1d9f9b189479" providerId="ADAL" clId="{5F87A5E2-C2A2-4F23-BC8C-28F7F5EA6CA7}" dt="2024-03-30T02:13:19.549" v="12947"/>
          <ac:cxnSpMkLst>
            <pc:docMk/>
            <pc:sldMk cId="2880425656" sldId="2147376813"/>
            <ac:cxnSpMk id="73" creationId="{29F78180-AA25-BBE5-EA76-6617550A848A}"/>
          </ac:cxnSpMkLst>
        </pc:cxnChg>
        <pc:cxnChg chg="add mod">
          <ac:chgData name="Clark, Connie" userId="73351e60-ad32-4085-a232-1d9f9b189479" providerId="ADAL" clId="{5F87A5E2-C2A2-4F23-BC8C-28F7F5EA6CA7}" dt="2024-03-30T02:13:19.549" v="12947"/>
          <ac:cxnSpMkLst>
            <pc:docMk/>
            <pc:sldMk cId="2880425656" sldId="2147376813"/>
            <ac:cxnSpMk id="74" creationId="{D7EEF6C4-99CD-1EDE-7B39-40CBB7B37AB2}"/>
          </ac:cxnSpMkLst>
        </pc:cxnChg>
        <pc:cxnChg chg="add mod">
          <ac:chgData name="Clark, Connie" userId="73351e60-ad32-4085-a232-1d9f9b189479" providerId="ADAL" clId="{5F87A5E2-C2A2-4F23-BC8C-28F7F5EA6CA7}" dt="2024-03-30T02:13:19.549" v="12947"/>
          <ac:cxnSpMkLst>
            <pc:docMk/>
            <pc:sldMk cId="2880425656" sldId="2147376813"/>
            <ac:cxnSpMk id="75" creationId="{30A5D5B2-1F7D-906F-22AC-EFB35030BA13}"/>
          </ac:cxnSpMkLst>
        </pc:cxnChg>
        <pc:cxnChg chg="add mod">
          <ac:chgData name="Clark, Connie" userId="73351e60-ad32-4085-a232-1d9f9b189479" providerId="ADAL" clId="{5F87A5E2-C2A2-4F23-BC8C-28F7F5EA6CA7}" dt="2024-03-30T02:13:19.549" v="12947"/>
          <ac:cxnSpMkLst>
            <pc:docMk/>
            <pc:sldMk cId="2880425656" sldId="2147376813"/>
            <ac:cxnSpMk id="76" creationId="{96C45A9B-68DE-7FF8-6C30-3E7401402F5A}"/>
          </ac:cxnSpMkLst>
        </pc:cxnChg>
        <pc:cxnChg chg="del">
          <ac:chgData name="Clark, Connie" userId="73351e60-ad32-4085-a232-1d9f9b189479" providerId="ADAL" clId="{5F87A5E2-C2A2-4F23-BC8C-28F7F5EA6CA7}" dt="2024-03-30T02:10:28.802" v="12926" actId="478"/>
          <ac:cxnSpMkLst>
            <pc:docMk/>
            <pc:sldMk cId="2880425656" sldId="2147376813"/>
            <ac:cxnSpMk id="92" creationId="{1534CF68-17D8-A7AC-9ECE-794BA285A628}"/>
          </ac:cxnSpMkLst>
        </pc:cxnChg>
        <pc:cxnChg chg="del">
          <ac:chgData name="Clark, Connie" userId="73351e60-ad32-4085-a232-1d9f9b189479" providerId="ADAL" clId="{5F87A5E2-C2A2-4F23-BC8C-28F7F5EA6CA7}" dt="2024-03-30T02:10:26.201" v="12925" actId="478"/>
          <ac:cxnSpMkLst>
            <pc:docMk/>
            <pc:sldMk cId="2880425656" sldId="2147376813"/>
            <ac:cxnSpMk id="94" creationId="{172AB6B9-18F9-A1BC-0FCC-CC99C8AB4734}"/>
          </ac:cxnSpMkLst>
        </pc:cxnChg>
        <pc:cxnChg chg="del">
          <ac:chgData name="Clark, Connie" userId="73351e60-ad32-4085-a232-1d9f9b189479" providerId="ADAL" clId="{5F87A5E2-C2A2-4F23-BC8C-28F7F5EA6CA7}" dt="2024-03-30T02:10:26.201" v="12925" actId="478"/>
          <ac:cxnSpMkLst>
            <pc:docMk/>
            <pc:sldMk cId="2880425656" sldId="2147376813"/>
            <ac:cxnSpMk id="95" creationId="{DE7C84B0-E007-3C4C-DFEA-4CE6CD0BAB83}"/>
          </ac:cxnSpMkLst>
        </pc:cxnChg>
        <pc:cxnChg chg="del">
          <ac:chgData name="Clark, Connie" userId="73351e60-ad32-4085-a232-1d9f9b189479" providerId="ADAL" clId="{5F87A5E2-C2A2-4F23-BC8C-28F7F5EA6CA7}" dt="2024-03-30T02:10:26.201" v="12925" actId="478"/>
          <ac:cxnSpMkLst>
            <pc:docMk/>
            <pc:sldMk cId="2880425656" sldId="2147376813"/>
            <ac:cxnSpMk id="96" creationId="{62C2AEAB-139D-8A69-D63D-01A1D8493D27}"/>
          </ac:cxnSpMkLst>
        </pc:cxnChg>
        <pc:cxnChg chg="del">
          <ac:chgData name="Clark, Connie" userId="73351e60-ad32-4085-a232-1d9f9b189479" providerId="ADAL" clId="{5F87A5E2-C2A2-4F23-BC8C-28F7F5EA6CA7}" dt="2024-03-30T02:10:26.201" v="12925" actId="478"/>
          <ac:cxnSpMkLst>
            <pc:docMk/>
            <pc:sldMk cId="2880425656" sldId="2147376813"/>
            <ac:cxnSpMk id="97" creationId="{C20D3E7B-588E-3255-CE90-A8FBCA0D6801}"/>
          </ac:cxnSpMkLst>
        </pc:cxnChg>
        <pc:cxnChg chg="del">
          <ac:chgData name="Clark, Connie" userId="73351e60-ad32-4085-a232-1d9f9b189479" providerId="ADAL" clId="{5F87A5E2-C2A2-4F23-BC8C-28F7F5EA6CA7}" dt="2024-03-30T02:10:26.201" v="12925" actId="478"/>
          <ac:cxnSpMkLst>
            <pc:docMk/>
            <pc:sldMk cId="2880425656" sldId="2147376813"/>
            <ac:cxnSpMk id="98" creationId="{5A00527B-9172-FC96-B44E-B2498D905DBA}"/>
          </ac:cxnSpMkLst>
        </pc:cxnChg>
        <pc:cxnChg chg="del mod">
          <ac:chgData name="Clark, Connie" userId="73351e60-ad32-4085-a232-1d9f9b189479" providerId="ADAL" clId="{5F87A5E2-C2A2-4F23-BC8C-28F7F5EA6CA7}" dt="2024-03-30T02:10:26.201" v="12925" actId="478"/>
          <ac:cxnSpMkLst>
            <pc:docMk/>
            <pc:sldMk cId="2880425656" sldId="2147376813"/>
            <ac:cxnSpMk id="109" creationId="{BA7D6F86-EB8D-EC5D-4294-3E1AFF6C2C68}"/>
          </ac:cxnSpMkLst>
        </pc:cxnChg>
        <pc:cxnChg chg="del mod">
          <ac:chgData name="Clark, Connie" userId="73351e60-ad32-4085-a232-1d9f9b189479" providerId="ADAL" clId="{5F87A5E2-C2A2-4F23-BC8C-28F7F5EA6CA7}" dt="2024-03-30T02:10:26.201" v="12925" actId="478"/>
          <ac:cxnSpMkLst>
            <pc:docMk/>
            <pc:sldMk cId="2880425656" sldId="2147376813"/>
            <ac:cxnSpMk id="110" creationId="{5182C397-7145-FDA7-F9A4-DBE3E21F1422}"/>
          </ac:cxnSpMkLst>
        </pc:cxnChg>
        <pc:cxnChg chg="del mod">
          <ac:chgData name="Clark, Connie" userId="73351e60-ad32-4085-a232-1d9f9b189479" providerId="ADAL" clId="{5F87A5E2-C2A2-4F23-BC8C-28F7F5EA6CA7}" dt="2024-03-30T02:10:26.201" v="12925" actId="478"/>
          <ac:cxnSpMkLst>
            <pc:docMk/>
            <pc:sldMk cId="2880425656" sldId="2147376813"/>
            <ac:cxnSpMk id="111" creationId="{7E2BA00F-17A1-A023-0448-A0F961FE8FE1}"/>
          </ac:cxnSpMkLst>
        </pc:cxnChg>
        <pc:cxnChg chg="del mod">
          <ac:chgData name="Clark, Connie" userId="73351e60-ad32-4085-a232-1d9f9b189479" providerId="ADAL" clId="{5F87A5E2-C2A2-4F23-BC8C-28F7F5EA6CA7}" dt="2024-03-30T02:10:26.201" v="12925" actId="478"/>
          <ac:cxnSpMkLst>
            <pc:docMk/>
            <pc:sldMk cId="2880425656" sldId="2147376813"/>
            <ac:cxnSpMk id="112" creationId="{6EB0733D-63E9-6375-885C-AEE8A852569B}"/>
          </ac:cxnSpMkLst>
        </pc:cxnChg>
        <pc:cxnChg chg="del">
          <ac:chgData name="Clark, Connie" userId="73351e60-ad32-4085-a232-1d9f9b189479" providerId="ADAL" clId="{5F87A5E2-C2A2-4F23-BC8C-28F7F5EA6CA7}" dt="2024-03-30T02:10:26.201" v="12925" actId="478"/>
          <ac:cxnSpMkLst>
            <pc:docMk/>
            <pc:sldMk cId="2880425656" sldId="2147376813"/>
            <ac:cxnSpMk id="118" creationId="{2E955162-9E74-1B13-5B44-5E145C90AC23}"/>
          </ac:cxnSpMkLst>
        </pc:cxnChg>
        <pc:cxnChg chg="del">
          <ac:chgData name="Clark, Connie" userId="73351e60-ad32-4085-a232-1d9f9b189479" providerId="ADAL" clId="{5F87A5E2-C2A2-4F23-BC8C-28F7F5EA6CA7}" dt="2024-03-30T02:10:26.201" v="12925" actId="478"/>
          <ac:cxnSpMkLst>
            <pc:docMk/>
            <pc:sldMk cId="2880425656" sldId="2147376813"/>
            <ac:cxnSpMk id="119" creationId="{BFF16F85-8E58-34CC-CF9B-AFFC2618CAE3}"/>
          </ac:cxnSpMkLst>
        </pc:cxnChg>
        <pc:cxnChg chg="del">
          <ac:chgData name="Clark, Connie" userId="73351e60-ad32-4085-a232-1d9f9b189479" providerId="ADAL" clId="{5F87A5E2-C2A2-4F23-BC8C-28F7F5EA6CA7}" dt="2024-03-30T02:10:26.201" v="12925" actId="478"/>
          <ac:cxnSpMkLst>
            <pc:docMk/>
            <pc:sldMk cId="2880425656" sldId="2147376813"/>
            <ac:cxnSpMk id="120" creationId="{ABACD6F2-AB16-EBA3-E8EF-48154F302AFF}"/>
          </ac:cxnSpMkLst>
        </pc:cxnChg>
        <pc:cxnChg chg="del">
          <ac:chgData name="Clark, Connie" userId="73351e60-ad32-4085-a232-1d9f9b189479" providerId="ADAL" clId="{5F87A5E2-C2A2-4F23-BC8C-28F7F5EA6CA7}" dt="2024-03-30T02:10:26.201" v="12925" actId="478"/>
          <ac:cxnSpMkLst>
            <pc:docMk/>
            <pc:sldMk cId="2880425656" sldId="2147376813"/>
            <ac:cxnSpMk id="121" creationId="{0F67CDD3-44EB-2AC0-027A-80E40C16A039}"/>
          </ac:cxnSpMkLst>
        </pc:cxnChg>
        <pc:cxnChg chg="del">
          <ac:chgData name="Clark, Connie" userId="73351e60-ad32-4085-a232-1d9f9b189479" providerId="ADAL" clId="{5F87A5E2-C2A2-4F23-BC8C-28F7F5EA6CA7}" dt="2024-03-30T02:10:26.201" v="12925" actId="478"/>
          <ac:cxnSpMkLst>
            <pc:docMk/>
            <pc:sldMk cId="2880425656" sldId="2147376813"/>
            <ac:cxnSpMk id="122" creationId="{762C38A8-3CAF-899C-D7D6-6AA0EF73469E}"/>
          </ac:cxnSpMkLst>
        </pc:cxnChg>
        <pc:cxnChg chg="del mod">
          <ac:chgData name="Clark, Connie" userId="73351e60-ad32-4085-a232-1d9f9b189479" providerId="ADAL" clId="{5F87A5E2-C2A2-4F23-BC8C-28F7F5EA6CA7}" dt="2024-03-30T02:10:26.201" v="12925" actId="478"/>
          <ac:cxnSpMkLst>
            <pc:docMk/>
            <pc:sldMk cId="2880425656" sldId="2147376813"/>
            <ac:cxnSpMk id="141" creationId="{2ED6E18F-4594-8FA7-B97E-19A3B868E224}"/>
          </ac:cxnSpMkLst>
        </pc:cxnChg>
        <pc:cxnChg chg="del mod">
          <ac:chgData name="Clark, Connie" userId="73351e60-ad32-4085-a232-1d9f9b189479" providerId="ADAL" clId="{5F87A5E2-C2A2-4F23-BC8C-28F7F5EA6CA7}" dt="2024-03-30T02:10:26.201" v="12925" actId="478"/>
          <ac:cxnSpMkLst>
            <pc:docMk/>
            <pc:sldMk cId="2880425656" sldId="2147376813"/>
            <ac:cxnSpMk id="144" creationId="{184F79ED-426D-16A0-FB67-29D6FF6C8DEB}"/>
          </ac:cxnSpMkLst>
        </pc:cxnChg>
        <pc:cxnChg chg="del mod">
          <ac:chgData name="Clark, Connie" userId="73351e60-ad32-4085-a232-1d9f9b189479" providerId="ADAL" clId="{5F87A5E2-C2A2-4F23-BC8C-28F7F5EA6CA7}" dt="2024-03-30T02:10:26.201" v="12925" actId="478"/>
          <ac:cxnSpMkLst>
            <pc:docMk/>
            <pc:sldMk cId="2880425656" sldId="2147376813"/>
            <ac:cxnSpMk id="145" creationId="{1EC0A532-01D6-D1B7-F5F6-428F107E79B0}"/>
          </ac:cxnSpMkLst>
        </pc:cxnChg>
        <pc:cxnChg chg="del mod">
          <ac:chgData name="Clark, Connie" userId="73351e60-ad32-4085-a232-1d9f9b189479" providerId="ADAL" clId="{5F87A5E2-C2A2-4F23-BC8C-28F7F5EA6CA7}" dt="2024-03-30T02:10:26.201" v="12925" actId="478"/>
          <ac:cxnSpMkLst>
            <pc:docMk/>
            <pc:sldMk cId="2880425656" sldId="2147376813"/>
            <ac:cxnSpMk id="146" creationId="{6B47A4FC-7D9A-8943-CAB6-61D6DAA34FDB}"/>
          </ac:cxnSpMkLst>
        </pc:cxnChg>
        <pc:cxnChg chg="del mod">
          <ac:chgData name="Clark, Connie" userId="73351e60-ad32-4085-a232-1d9f9b189479" providerId="ADAL" clId="{5F87A5E2-C2A2-4F23-BC8C-28F7F5EA6CA7}" dt="2024-03-30T02:10:26.201" v="12925" actId="478"/>
          <ac:cxnSpMkLst>
            <pc:docMk/>
            <pc:sldMk cId="2880425656" sldId="2147376813"/>
            <ac:cxnSpMk id="149" creationId="{82E29DA6-BCF1-80D6-8FD0-D078F758DADC}"/>
          </ac:cxnSpMkLst>
        </pc:cxnChg>
        <pc:cxnChg chg="del mod">
          <ac:chgData name="Clark, Connie" userId="73351e60-ad32-4085-a232-1d9f9b189479" providerId="ADAL" clId="{5F87A5E2-C2A2-4F23-BC8C-28F7F5EA6CA7}" dt="2024-03-30T02:10:26.201" v="12925" actId="478"/>
          <ac:cxnSpMkLst>
            <pc:docMk/>
            <pc:sldMk cId="2880425656" sldId="2147376813"/>
            <ac:cxnSpMk id="151" creationId="{9C078A26-B394-88EF-EC2B-64348971AB1F}"/>
          </ac:cxnSpMkLst>
        </pc:cxnChg>
        <pc:cxnChg chg="del mod">
          <ac:chgData name="Clark, Connie" userId="73351e60-ad32-4085-a232-1d9f9b189479" providerId="ADAL" clId="{5F87A5E2-C2A2-4F23-BC8C-28F7F5EA6CA7}" dt="2024-03-30T02:10:26.201" v="12925" actId="478"/>
          <ac:cxnSpMkLst>
            <pc:docMk/>
            <pc:sldMk cId="2880425656" sldId="2147376813"/>
            <ac:cxnSpMk id="152" creationId="{B688AD7E-3412-1D53-3C6A-E77BFAF92FFB}"/>
          </ac:cxnSpMkLst>
        </pc:cxnChg>
        <pc:cxnChg chg="del mod">
          <ac:chgData name="Clark, Connie" userId="73351e60-ad32-4085-a232-1d9f9b189479" providerId="ADAL" clId="{5F87A5E2-C2A2-4F23-BC8C-28F7F5EA6CA7}" dt="2024-03-30T02:10:26.201" v="12925" actId="478"/>
          <ac:cxnSpMkLst>
            <pc:docMk/>
            <pc:sldMk cId="2880425656" sldId="2147376813"/>
            <ac:cxnSpMk id="154" creationId="{7B604D61-4E63-7317-E9D7-C070742CD206}"/>
          </ac:cxnSpMkLst>
        </pc:cxnChg>
        <pc:cxnChg chg="del">
          <ac:chgData name="Clark, Connie" userId="73351e60-ad32-4085-a232-1d9f9b189479" providerId="ADAL" clId="{5F87A5E2-C2A2-4F23-BC8C-28F7F5EA6CA7}" dt="2024-03-30T02:10:26.201" v="12925" actId="478"/>
          <ac:cxnSpMkLst>
            <pc:docMk/>
            <pc:sldMk cId="2880425656" sldId="2147376813"/>
            <ac:cxnSpMk id="158" creationId="{D15947B4-1722-4372-1790-5EA0330D785F}"/>
          </ac:cxnSpMkLst>
        </pc:cxnChg>
        <pc:cxnChg chg="del mod">
          <ac:chgData name="Clark, Connie" userId="73351e60-ad32-4085-a232-1d9f9b189479" providerId="ADAL" clId="{5F87A5E2-C2A2-4F23-BC8C-28F7F5EA6CA7}" dt="2024-03-30T02:10:26.201" v="12925" actId="478"/>
          <ac:cxnSpMkLst>
            <pc:docMk/>
            <pc:sldMk cId="2880425656" sldId="2147376813"/>
            <ac:cxnSpMk id="161" creationId="{5162F612-AD4D-48ED-C277-5E99687B8C3E}"/>
          </ac:cxnSpMkLst>
        </pc:cxnChg>
        <pc:cxnChg chg="add mod">
          <ac:chgData name="Clark, Connie" userId="73351e60-ad32-4085-a232-1d9f9b189479" providerId="ADAL" clId="{5F87A5E2-C2A2-4F23-BC8C-28F7F5EA6CA7}" dt="2024-03-30T02:13:19.549" v="12947"/>
          <ac:cxnSpMkLst>
            <pc:docMk/>
            <pc:sldMk cId="2880425656" sldId="2147376813"/>
            <ac:cxnSpMk id="163" creationId="{762914D2-DA0A-838B-788B-D35D131779B1}"/>
          </ac:cxnSpMkLst>
        </pc:cxnChg>
        <pc:cxnChg chg="add mod">
          <ac:chgData name="Clark, Connie" userId="73351e60-ad32-4085-a232-1d9f9b189479" providerId="ADAL" clId="{5F87A5E2-C2A2-4F23-BC8C-28F7F5EA6CA7}" dt="2024-03-30T02:13:19.549" v="12947"/>
          <ac:cxnSpMkLst>
            <pc:docMk/>
            <pc:sldMk cId="2880425656" sldId="2147376813"/>
            <ac:cxnSpMk id="166" creationId="{A220FB13-030B-456A-5C21-DA949B2D6412}"/>
          </ac:cxnSpMkLst>
        </pc:cxnChg>
        <pc:cxnChg chg="add mod">
          <ac:chgData name="Clark, Connie" userId="73351e60-ad32-4085-a232-1d9f9b189479" providerId="ADAL" clId="{5F87A5E2-C2A2-4F23-BC8C-28F7F5EA6CA7}" dt="2024-03-30T02:13:19.549" v="12947"/>
          <ac:cxnSpMkLst>
            <pc:docMk/>
            <pc:sldMk cId="2880425656" sldId="2147376813"/>
            <ac:cxnSpMk id="167" creationId="{C77D8B9E-4A2A-B0BF-2042-1556B6E19498}"/>
          </ac:cxnSpMkLst>
        </pc:cxnChg>
        <pc:cxnChg chg="add mod">
          <ac:chgData name="Clark, Connie" userId="73351e60-ad32-4085-a232-1d9f9b189479" providerId="ADAL" clId="{5F87A5E2-C2A2-4F23-BC8C-28F7F5EA6CA7}" dt="2024-03-30T02:13:19.549" v="12947"/>
          <ac:cxnSpMkLst>
            <pc:docMk/>
            <pc:sldMk cId="2880425656" sldId="2147376813"/>
            <ac:cxnSpMk id="168" creationId="{F39F4B0B-3E77-F5A8-B6A2-E679E4B3FEF7}"/>
          </ac:cxnSpMkLst>
        </pc:cxnChg>
        <pc:cxnChg chg="add mod">
          <ac:chgData name="Clark, Connie" userId="73351e60-ad32-4085-a232-1d9f9b189479" providerId="ADAL" clId="{5F87A5E2-C2A2-4F23-BC8C-28F7F5EA6CA7}" dt="2024-03-30T02:13:19.549" v="12947"/>
          <ac:cxnSpMkLst>
            <pc:docMk/>
            <pc:sldMk cId="2880425656" sldId="2147376813"/>
            <ac:cxnSpMk id="171" creationId="{8ABDF883-BCD2-B961-713E-27368E47AFB5}"/>
          </ac:cxnSpMkLst>
        </pc:cxnChg>
        <pc:cxnChg chg="add mod">
          <ac:chgData name="Clark, Connie" userId="73351e60-ad32-4085-a232-1d9f9b189479" providerId="ADAL" clId="{5F87A5E2-C2A2-4F23-BC8C-28F7F5EA6CA7}" dt="2024-03-30T02:13:19.549" v="12947"/>
          <ac:cxnSpMkLst>
            <pc:docMk/>
            <pc:sldMk cId="2880425656" sldId="2147376813"/>
            <ac:cxnSpMk id="173" creationId="{AB7A8D7B-7639-F2AA-4332-F1739693E80E}"/>
          </ac:cxnSpMkLst>
        </pc:cxnChg>
        <pc:cxnChg chg="add mod">
          <ac:chgData name="Clark, Connie" userId="73351e60-ad32-4085-a232-1d9f9b189479" providerId="ADAL" clId="{5F87A5E2-C2A2-4F23-BC8C-28F7F5EA6CA7}" dt="2024-03-30T02:13:19.549" v="12947"/>
          <ac:cxnSpMkLst>
            <pc:docMk/>
            <pc:sldMk cId="2880425656" sldId="2147376813"/>
            <ac:cxnSpMk id="174" creationId="{DC090CBF-3FBC-817B-9A28-5D011BDB1288}"/>
          </ac:cxnSpMkLst>
        </pc:cxnChg>
        <pc:cxnChg chg="add mod">
          <ac:chgData name="Clark, Connie" userId="73351e60-ad32-4085-a232-1d9f9b189479" providerId="ADAL" clId="{5F87A5E2-C2A2-4F23-BC8C-28F7F5EA6CA7}" dt="2024-03-30T02:13:19.549" v="12947"/>
          <ac:cxnSpMkLst>
            <pc:docMk/>
            <pc:sldMk cId="2880425656" sldId="2147376813"/>
            <ac:cxnSpMk id="178" creationId="{EE3BF4D3-AE50-F107-075D-3454B30ACF02}"/>
          </ac:cxnSpMkLst>
        </pc:cxnChg>
        <pc:cxnChg chg="add mod">
          <ac:chgData name="Clark, Connie" userId="73351e60-ad32-4085-a232-1d9f9b189479" providerId="ADAL" clId="{5F87A5E2-C2A2-4F23-BC8C-28F7F5EA6CA7}" dt="2024-03-30T02:13:19.549" v="12947"/>
          <ac:cxnSpMkLst>
            <pc:docMk/>
            <pc:sldMk cId="2880425656" sldId="2147376813"/>
            <ac:cxnSpMk id="179" creationId="{4925848A-804C-33DF-C9A2-A170EE7DBE7C}"/>
          </ac:cxnSpMkLst>
        </pc:cxnChg>
        <pc:cxnChg chg="add mod">
          <ac:chgData name="Clark, Connie" userId="73351e60-ad32-4085-a232-1d9f9b189479" providerId="ADAL" clId="{5F87A5E2-C2A2-4F23-BC8C-28F7F5EA6CA7}" dt="2024-03-30T02:13:19.549" v="12947"/>
          <ac:cxnSpMkLst>
            <pc:docMk/>
            <pc:sldMk cId="2880425656" sldId="2147376813"/>
            <ac:cxnSpMk id="182" creationId="{4670258F-D2CE-B1B1-3258-168EC4165675}"/>
          </ac:cxnSpMkLst>
        </pc:cxnChg>
      </pc:sldChg>
      <pc:sldChg chg="delSp modSp add del mod ord">
        <pc:chgData name="Clark, Connie" userId="73351e60-ad32-4085-a232-1d9f9b189479" providerId="ADAL" clId="{5F87A5E2-C2A2-4F23-BC8C-28F7F5EA6CA7}" dt="2024-03-31T05:28:40.820" v="21520" actId="47"/>
        <pc:sldMkLst>
          <pc:docMk/>
          <pc:sldMk cId="2340160821" sldId="2147376814"/>
        </pc:sldMkLst>
        <pc:spChg chg="del">
          <ac:chgData name="Clark, Connie" userId="73351e60-ad32-4085-a232-1d9f9b189479" providerId="ADAL" clId="{5F87A5E2-C2A2-4F23-BC8C-28F7F5EA6CA7}" dt="2024-03-30T02:09:29.728" v="12921" actId="478"/>
          <ac:spMkLst>
            <pc:docMk/>
            <pc:sldMk cId="2340160821" sldId="2147376814"/>
            <ac:spMk id="4" creationId="{E217066B-E269-5CD2-0150-8967F40EC646}"/>
          </ac:spMkLst>
        </pc:spChg>
        <pc:spChg chg="mod">
          <ac:chgData name="Clark, Connie" userId="73351e60-ad32-4085-a232-1d9f9b189479" providerId="ADAL" clId="{5F87A5E2-C2A2-4F23-BC8C-28F7F5EA6CA7}" dt="2024-03-30T02:09:50.120" v="12924" actId="1076"/>
          <ac:spMkLst>
            <pc:docMk/>
            <pc:sldMk cId="2340160821" sldId="2147376814"/>
            <ac:spMk id="85" creationId="{1CFFAF8D-67F2-DF15-F82F-870FA99E3431}"/>
          </ac:spMkLst>
        </pc:spChg>
        <pc:spChg chg="mod">
          <ac:chgData name="Clark, Connie" userId="73351e60-ad32-4085-a232-1d9f9b189479" providerId="ADAL" clId="{5F87A5E2-C2A2-4F23-BC8C-28F7F5EA6CA7}" dt="2024-03-30T02:09:50.120" v="12924" actId="1076"/>
          <ac:spMkLst>
            <pc:docMk/>
            <pc:sldMk cId="2340160821" sldId="2147376814"/>
            <ac:spMk id="86" creationId="{B02BF1D3-E738-C943-5EE9-A726C31F8940}"/>
          </ac:spMkLst>
        </pc:spChg>
        <pc:spChg chg="mod">
          <ac:chgData name="Clark, Connie" userId="73351e60-ad32-4085-a232-1d9f9b189479" providerId="ADAL" clId="{5F87A5E2-C2A2-4F23-BC8C-28F7F5EA6CA7}" dt="2024-03-30T02:09:50.120" v="12924" actId="1076"/>
          <ac:spMkLst>
            <pc:docMk/>
            <pc:sldMk cId="2340160821" sldId="2147376814"/>
            <ac:spMk id="87" creationId="{48409EDB-6031-5382-6A9D-6B2745D8F10D}"/>
          </ac:spMkLst>
        </pc:spChg>
        <pc:spChg chg="mod">
          <ac:chgData name="Clark, Connie" userId="73351e60-ad32-4085-a232-1d9f9b189479" providerId="ADAL" clId="{5F87A5E2-C2A2-4F23-BC8C-28F7F5EA6CA7}" dt="2024-03-30T02:09:50.120" v="12924" actId="1076"/>
          <ac:spMkLst>
            <pc:docMk/>
            <pc:sldMk cId="2340160821" sldId="2147376814"/>
            <ac:spMk id="88" creationId="{88A3E0C2-FE66-0248-E11A-16E9E713A66F}"/>
          </ac:spMkLst>
        </pc:spChg>
        <pc:spChg chg="mod">
          <ac:chgData name="Clark, Connie" userId="73351e60-ad32-4085-a232-1d9f9b189479" providerId="ADAL" clId="{5F87A5E2-C2A2-4F23-BC8C-28F7F5EA6CA7}" dt="2024-03-30T02:09:50.120" v="12924" actId="1076"/>
          <ac:spMkLst>
            <pc:docMk/>
            <pc:sldMk cId="2340160821" sldId="2147376814"/>
            <ac:spMk id="89" creationId="{2FF838F0-C393-9F9E-6434-F898B9179A9E}"/>
          </ac:spMkLst>
        </pc:spChg>
        <pc:spChg chg="mod">
          <ac:chgData name="Clark, Connie" userId="73351e60-ad32-4085-a232-1d9f9b189479" providerId="ADAL" clId="{5F87A5E2-C2A2-4F23-BC8C-28F7F5EA6CA7}" dt="2024-03-30T02:09:50.120" v="12924" actId="1076"/>
          <ac:spMkLst>
            <pc:docMk/>
            <pc:sldMk cId="2340160821" sldId="2147376814"/>
            <ac:spMk id="90" creationId="{1F09CF1B-827A-3454-3D42-08EA5AB69F1E}"/>
          </ac:spMkLst>
        </pc:spChg>
        <pc:spChg chg="mod">
          <ac:chgData name="Clark, Connie" userId="73351e60-ad32-4085-a232-1d9f9b189479" providerId="ADAL" clId="{5F87A5E2-C2A2-4F23-BC8C-28F7F5EA6CA7}" dt="2024-03-30T02:09:50.120" v="12924" actId="1076"/>
          <ac:spMkLst>
            <pc:docMk/>
            <pc:sldMk cId="2340160821" sldId="2147376814"/>
            <ac:spMk id="91" creationId="{D004112F-3178-7999-01BE-58FAA3FBFBA2}"/>
          </ac:spMkLst>
        </pc:spChg>
        <pc:spChg chg="mod">
          <ac:chgData name="Clark, Connie" userId="73351e60-ad32-4085-a232-1d9f9b189479" providerId="ADAL" clId="{5F87A5E2-C2A2-4F23-BC8C-28F7F5EA6CA7}" dt="2024-03-30T02:09:50.120" v="12924" actId="1076"/>
          <ac:spMkLst>
            <pc:docMk/>
            <pc:sldMk cId="2340160821" sldId="2147376814"/>
            <ac:spMk id="93" creationId="{1340A11F-E13A-8CC0-624F-F99E8B7E8A53}"/>
          </ac:spMkLst>
        </pc:spChg>
        <pc:spChg chg="mod">
          <ac:chgData name="Clark, Connie" userId="73351e60-ad32-4085-a232-1d9f9b189479" providerId="ADAL" clId="{5F87A5E2-C2A2-4F23-BC8C-28F7F5EA6CA7}" dt="2024-03-30T02:09:50.120" v="12924" actId="1076"/>
          <ac:spMkLst>
            <pc:docMk/>
            <pc:sldMk cId="2340160821" sldId="2147376814"/>
            <ac:spMk id="99" creationId="{12396BF8-2AD2-4EC9-A7E5-5F12A155E600}"/>
          </ac:spMkLst>
        </pc:spChg>
        <pc:spChg chg="mod">
          <ac:chgData name="Clark, Connie" userId="73351e60-ad32-4085-a232-1d9f9b189479" providerId="ADAL" clId="{5F87A5E2-C2A2-4F23-BC8C-28F7F5EA6CA7}" dt="2024-03-30T02:09:50.120" v="12924" actId="1076"/>
          <ac:spMkLst>
            <pc:docMk/>
            <pc:sldMk cId="2340160821" sldId="2147376814"/>
            <ac:spMk id="100" creationId="{7D5168EF-ADE6-6BE0-0C88-F9ACA3EA8F68}"/>
          </ac:spMkLst>
        </pc:spChg>
        <pc:spChg chg="mod">
          <ac:chgData name="Clark, Connie" userId="73351e60-ad32-4085-a232-1d9f9b189479" providerId="ADAL" clId="{5F87A5E2-C2A2-4F23-BC8C-28F7F5EA6CA7}" dt="2024-03-31T05:28:36.641" v="21519" actId="1076"/>
          <ac:spMkLst>
            <pc:docMk/>
            <pc:sldMk cId="2340160821" sldId="2147376814"/>
            <ac:spMk id="101" creationId="{DAF0725E-6E91-67CD-6C77-3E750B0F7390}"/>
          </ac:spMkLst>
        </pc:spChg>
        <pc:spChg chg="mod">
          <ac:chgData name="Clark, Connie" userId="73351e60-ad32-4085-a232-1d9f9b189479" providerId="ADAL" clId="{5F87A5E2-C2A2-4F23-BC8C-28F7F5EA6CA7}" dt="2024-03-30T02:09:50.120" v="12924" actId="1076"/>
          <ac:spMkLst>
            <pc:docMk/>
            <pc:sldMk cId="2340160821" sldId="2147376814"/>
            <ac:spMk id="102" creationId="{5E0F7BF7-BA5F-EACD-EC97-6458A9FA7BAA}"/>
          </ac:spMkLst>
        </pc:spChg>
        <pc:spChg chg="mod">
          <ac:chgData name="Clark, Connie" userId="73351e60-ad32-4085-a232-1d9f9b189479" providerId="ADAL" clId="{5F87A5E2-C2A2-4F23-BC8C-28F7F5EA6CA7}" dt="2024-03-30T02:09:50.120" v="12924" actId="1076"/>
          <ac:spMkLst>
            <pc:docMk/>
            <pc:sldMk cId="2340160821" sldId="2147376814"/>
            <ac:spMk id="103" creationId="{389392DC-E912-053F-CCC7-8472FE8566B5}"/>
          </ac:spMkLst>
        </pc:spChg>
        <pc:spChg chg="mod">
          <ac:chgData name="Clark, Connie" userId="73351e60-ad32-4085-a232-1d9f9b189479" providerId="ADAL" clId="{5F87A5E2-C2A2-4F23-BC8C-28F7F5EA6CA7}" dt="2024-03-30T02:09:50.120" v="12924" actId="1076"/>
          <ac:spMkLst>
            <pc:docMk/>
            <pc:sldMk cId="2340160821" sldId="2147376814"/>
            <ac:spMk id="104" creationId="{B9DBBF45-9B29-998D-EEAF-A3E5CD5F5413}"/>
          </ac:spMkLst>
        </pc:spChg>
        <pc:spChg chg="mod">
          <ac:chgData name="Clark, Connie" userId="73351e60-ad32-4085-a232-1d9f9b189479" providerId="ADAL" clId="{5F87A5E2-C2A2-4F23-BC8C-28F7F5EA6CA7}" dt="2024-03-30T02:09:50.120" v="12924" actId="1076"/>
          <ac:spMkLst>
            <pc:docMk/>
            <pc:sldMk cId="2340160821" sldId="2147376814"/>
            <ac:spMk id="105" creationId="{8F8D0633-26A0-BD1D-CDB5-9DDF3C418DD8}"/>
          </ac:spMkLst>
        </pc:spChg>
        <pc:spChg chg="mod">
          <ac:chgData name="Clark, Connie" userId="73351e60-ad32-4085-a232-1d9f9b189479" providerId="ADAL" clId="{5F87A5E2-C2A2-4F23-BC8C-28F7F5EA6CA7}" dt="2024-03-30T02:09:50.120" v="12924" actId="1076"/>
          <ac:spMkLst>
            <pc:docMk/>
            <pc:sldMk cId="2340160821" sldId="2147376814"/>
            <ac:spMk id="106" creationId="{061C84DF-D61D-903C-F8BF-64C60903EA13}"/>
          </ac:spMkLst>
        </pc:spChg>
        <pc:spChg chg="mod">
          <ac:chgData name="Clark, Connie" userId="73351e60-ad32-4085-a232-1d9f9b189479" providerId="ADAL" clId="{5F87A5E2-C2A2-4F23-BC8C-28F7F5EA6CA7}" dt="2024-03-30T02:09:50.120" v="12924" actId="1076"/>
          <ac:spMkLst>
            <pc:docMk/>
            <pc:sldMk cId="2340160821" sldId="2147376814"/>
            <ac:spMk id="107" creationId="{BD64F859-C9E8-FB49-4455-409CB227200E}"/>
          </ac:spMkLst>
        </pc:spChg>
        <pc:spChg chg="mod">
          <ac:chgData name="Clark, Connie" userId="73351e60-ad32-4085-a232-1d9f9b189479" providerId="ADAL" clId="{5F87A5E2-C2A2-4F23-BC8C-28F7F5EA6CA7}" dt="2024-03-30T02:09:50.120" v="12924" actId="1076"/>
          <ac:spMkLst>
            <pc:docMk/>
            <pc:sldMk cId="2340160821" sldId="2147376814"/>
            <ac:spMk id="108" creationId="{FFFDC234-9D05-3B23-862A-D89D0F4D2498}"/>
          </ac:spMkLst>
        </pc:spChg>
        <pc:spChg chg="mod">
          <ac:chgData name="Clark, Connie" userId="73351e60-ad32-4085-a232-1d9f9b189479" providerId="ADAL" clId="{5F87A5E2-C2A2-4F23-BC8C-28F7F5EA6CA7}" dt="2024-03-30T02:09:50.120" v="12924" actId="1076"/>
          <ac:spMkLst>
            <pc:docMk/>
            <pc:sldMk cId="2340160821" sldId="2147376814"/>
            <ac:spMk id="113" creationId="{A5115668-4E9D-4999-D9CE-1B1A371E4021}"/>
          </ac:spMkLst>
        </pc:spChg>
        <pc:spChg chg="mod">
          <ac:chgData name="Clark, Connie" userId="73351e60-ad32-4085-a232-1d9f9b189479" providerId="ADAL" clId="{5F87A5E2-C2A2-4F23-BC8C-28F7F5EA6CA7}" dt="2024-03-30T02:09:50.120" v="12924" actId="1076"/>
          <ac:spMkLst>
            <pc:docMk/>
            <pc:sldMk cId="2340160821" sldId="2147376814"/>
            <ac:spMk id="114" creationId="{B6C82F5B-E655-2D81-7769-9F48A46C1EC0}"/>
          </ac:spMkLst>
        </pc:spChg>
        <pc:spChg chg="mod">
          <ac:chgData name="Clark, Connie" userId="73351e60-ad32-4085-a232-1d9f9b189479" providerId="ADAL" clId="{5F87A5E2-C2A2-4F23-BC8C-28F7F5EA6CA7}" dt="2024-03-30T02:09:50.120" v="12924" actId="1076"/>
          <ac:spMkLst>
            <pc:docMk/>
            <pc:sldMk cId="2340160821" sldId="2147376814"/>
            <ac:spMk id="123" creationId="{90E3E005-3FB8-8148-9A72-014011CDF181}"/>
          </ac:spMkLst>
        </pc:spChg>
        <pc:spChg chg="mod">
          <ac:chgData name="Clark, Connie" userId="73351e60-ad32-4085-a232-1d9f9b189479" providerId="ADAL" clId="{5F87A5E2-C2A2-4F23-BC8C-28F7F5EA6CA7}" dt="2024-03-30T02:09:50.120" v="12924" actId="1076"/>
          <ac:spMkLst>
            <pc:docMk/>
            <pc:sldMk cId="2340160821" sldId="2147376814"/>
            <ac:spMk id="124" creationId="{4075E8B1-49FC-3AF8-E84E-015F29C6713F}"/>
          </ac:spMkLst>
        </pc:spChg>
        <pc:spChg chg="mod">
          <ac:chgData name="Clark, Connie" userId="73351e60-ad32-4085-a232-1d9f9b189479" providerId="ADAL" clId="{5F87A5E2-C2A2-4F23-BC8C-28F7F5EA6CA7}" dt="2024-03-30T02:09:50.120" v="12924" actId="1076"/>
          <ac:spMkLst>
            <pc:docMk/>
            <pc:sldMk cId="2340160821" sldId="2147376814"/>
            <ac:spMk id="125" creationId="{FA6CCBB3-FD21-9FCD-FEDF-11D2F765E76F}"/>
          </ac:spMkLst>
        </pc:spChg>
        <pc:spChg chg="mod">
          <ac:chgData name="Clark, Connie" userId="73351e60-ad32-4085-a232-1d9f9b189479" providerId="ADAL" clId="{5F87A5E2-C2A2-4F23-BC8C-28F7F5EA6CA7}" dt="2024-03-30T02:09:50.120" v="12924" actId="1076"/>
          <ac:spMkLst>
            <pc:docMk/>
            <pc:sldMk cId="2340160821" sldId="2147376814"/>
            <ac:spMk id="126" creationId="{D96BE001-6396-B631-1018-85B3BC6A1E56}"/>
          </ac:spMkLst>
        </pc:spChg>
        <pc:spChg chg="mod">
          <ac:chgData name="Clark, Connie" userId="73351e60-ad32-4085-a232-1d9f9b189479" providerId="ADAL" clId="{5F87A5E2-C2A2-4F23-BC8C-28F7F5EA6CA7}" dt="2024-03-30T02:09:50.120" v="12924" actId="1076"/>
          <ac:spMkLst>
            <pc:docMk/>
            <pc:sldMk cId="2340160821" sldId="2147376814"/>
            <ac:spMk id="127" creationId="{71043FD1-B956-AB46-1ED6-1E17F0E92DFC}"/>
          </ac:spMkLst>
        </pc:spChg>
        <pc:spChg chg="mod">
          <ac:chgData name="Clark, Connie" userId="73351e60-ad32-4085-a232-1d9f9b189479" providerId="ADAL" clId="{5F87A5E2-C2A2-4F23-BC8C-28F7F5EA6CA7}" dt="2024-03-30T02:09:50.120" v="12924" actId="1076"/>
          <ac:spMkLst>
            <pc:docMk/>
            <pc:sldMk cId="2340160821" sldId="2147376814"/>
            <ac:spMk id="128" creationId="{A5FEA061-87E5-0826-984B-621F3E972534}"/>
          </ac:spMkLst>
        </pc:spChg>
        <pc:spChg chg="mod">
          <ac:chgData name="Clark, Connie" userId="73351e60-ad32-4085-a232-1d9f9b189479" providerId="ADAL" clId="{5F87A5E2-C2A2-4F23-BC8C-28F7F5EA6CA7}" dt="2024-03-30T02:09:50.120" v="12924" actId="1076"/>
          <ac:spMkLst>
            <pc:docMk/>
            <pc:sldMk cId="2340160821" sldId="2147376814"/>
            <ac:spMk id="129" creationId="{41ADCCF3-89DD-D44A-D4CD-AD8023402933}"/>
          </ac:spMkLst>
        </pc:spChg>
        <pc:spChg chg="mod">
          <ac:chgData name="Clark, Connie" userId="73351e60-ad32-4085-a232-1d9f9b189479" providerId="ADAL" clId="{5F87A5E2-C2A2-4F23-BC8C-28F7F5EA6CA7}" dt="2024-03-30T02:09:50.120" v="12924" actId="1076"/>
          <ac:spMkLst>
            <pc:docMk/>
            <pc:sldMk cId="2340160821" sldId="2147376814"/>
            <ac:spMk id="130" creationId="{30F32150-0615-06F3-B76F-0C0D37BDED49}"/>
          </ac:spMkLst>
        </pc:spChg>
        <pc:spChg chg="mod">
          <ac:chgData name="Clark, Connie" userId="73351e60-ad32-4085-a232-1d9f9b189479" providerId="ADAL" clId="{5F87A5E2-C2A2-4F23-BC8C-28F7F5EA6CA7}" dt="2024-03-30T02:09:50.120" v="12924" actId="1076"/>
          <ac:spMkLst>
            <pc:docMk/>
            <pc:sldMk cId="2340160821" sldId="2147376814"/>
            <ac:spMk id="131" creationId="{EE28AADF-235A-B25A-9BF3-CC6A15D204AA}"/>
          </ac:spMkLst>
        </pc:spChg>
        <pc:spChg chg="mod">
          <ac:chgData name="Clark, Connie" userId="73351e60-ad32-4085-a232-1d9f9b189479" providerId="ADAL" clId="{5F87A5E2-C2A2-4F23-BC8C-28F7F5EA6CA7}" dt="2024-03-30T02:09:50.120" v="12924" actId="1076"/>
          <ac:spMkLst>
            <pc:docMk/>
            <pc:sldMk cId="2340160821" sldId="2147376814"/>
            <ac:spMk id="132" creationId="{A3719DA0-2D5A-2B55-949D-BCAFDB241E2F}"/>
          </ac:spMkLst>
        </pc:spChg>
        <pc:spChg chg="mod">
          <ac:chgData name="Clark, Connie" userId="73351e60-ad32-4085-a232-1d9f9b189479" providerId="ADAL" clId="{5F87A5E2-C2A2-4F23-BC8C-28F7F5EA6CA7}" dt="2024-03-30T02:09:50.120" v="12924" actId="1076"/>
          <ac:spMkLst>
            <pc:docMk/>
            <pc:sldMk cId="2340160821" sldId="2147376814"/>
            <ac:spMk id="133" creationId="{D6D37596-4256-6D84-8678-4045124E0976}"/>
          </ac:spMkLst>
        </pc:spChg>
        <pc:spChg chg="mod">
          <ac:chgData name="Clark, Connie" userId="73351e60-ad32-4085-a232-1d9f9b189479" providerId="ADAL" clId="{5F87A5E2-C2A2-4F23-BC8C-28F7F5EA6CA7}" dt="2024-03-30T02:09:50.120" v="12924" actId="1076"/>
          <ac:spMkLst>
            <pc:docMk/>
            <pc:sldMk cId="2340160821" sldId="2147376814"/>
            <ac:spMk id="134" creationId="{B1933A00-0A48-C6ED-8E8E-88F242DB9F12}"/>
          </ac:spMkLst>
        </pc:spChg>
        <pc:spChg chg="mod">
          <ac:chgData name="Clark, Connie" userId="73351e60-ad32-4085-a232-1d9f9b189479" providerId="ADAL" clId="{5F87A5E2-C2A2-4F23-BC8C-28F7F5EA6CA7}" dt="2024-03-30T02:09:50.120" v="12924" actId="1076"/>
          <ac:spMkLst>
            <pc:docMk/>
            <pc:sldMk cId="2340160821" sldId="2147376814"/>
            <ac:spMk id="135" creationId="{B39499A8-FF3F-53B4-6BB5-17571D585BC8}"/>
          </ac:spMkLst>
        </pc:spChg>
        <pc:spChg chg="mod">
          <ac:chgData name="Clark, Connie" userId="73351e60-ad32-4085-a232-1d9f9b189479" providerId="ADAL" clId="{5F87A5E2-C2A2-4F23-BC8C-28F7F5EA6CA7}" dt="2024-03-30T02:09:50.120" v="12924" actId="1076"/>
          <ac:spMkLst>
            <pc:docMk/>
            <pc:sldMk cId="2340160821" sldId="2147376814"/>
            <ac:spMk id="136" creationId="{17C6E940-6F41-5862-A818-030385902E23}"/>
          </ac:spMkLst>
        </pc:spChg>
        <pc:spChg chg="mod">
          <ac:chgData name="Clark, Connie" userId="73351e60-ad32-4085-a232-1d9f9b189479" providerId="ADAL" clId="{5F87A5E2-C2A2-4F23-BC8C-28F7F5EA6CA7}" dt="2024-03-30T02:09:50.120" v="12924" actId="1076"/>
          <ac:spMkLst>
            <pc:docMk/>
            <pc:sldMk cId="2340160821" sldId="2147376814"/>
            <ac:spMk id="139" creationId="{6FD6685D-4203-7D03-DAEC-CE9CBA1E0A5F}"/>
          </ac:spMkLst>
        </pc:spChg>
        <pc:spChg chg="mod">
          <ac:chgData name="Clark, Connie" userId="73351e60-ad32-4085-a232-1d9f9b189479" providerId="ADAL" clId="{5F87A5E2-C2A2-4F23-BC8C-28F7F5EA6CA7}" dt="2024-03-30T02:09:50.120" v="12924" actId="1076"/>
          <ac:spMkLst>
            <pc:docMk/>
            <pc:sldMk cId="2340160821" sldId="2147376814"/>
            <ac:spMk id="140" creationId="{793A8C67-03F3-B049-66B8-C30C1FD3629F}"/>
          </ac:spMkLst>
        </pc:spChg>
        <pc:spChg chg="mod">
          <ac:chgData name="Clark, Connie" userId="73351e60-ad32-4085-a232-1d9f9b189479" providerId="ADAL" clId="{5F87A5E2-C2A2-4F23-BC8C-28F7F5EA6CA7}" dt="2024-03-30T02:09:50.120" v="12924" actId="1076"/>
          <ac:spMkLst>
            <pc:docMk/>
            <pc:sldMk cId="2340160821" sldId="2147376814"/>
            <ac:spMk id="142" creationId="{71E8D36D-5D8F-A85E-6C55-B3CD86A79A91}"/>
          </ac:spMkLst>
        </pc:spChg>
        <pc:spChg chg="mod">
          <ac:chgData name="Clark, Connie" userId="73351e60-ad32-4085-a232-1d9f9b189479" providerId="ADAL" clId="{5F87A5E2-C2A2-4F23-BC8C-28F7F5EA6CA7}" dt="2024-03-30T02:09:50.120" v="12924" actId="1076"/>
          <ac:spMkLst>
            <pc:docMk/>
            <pc:sldMk cId="2340160821" sldId="2147376814"/>
            <ac:spMk id="143" creationId="{8EBFEE5D-04BF-7AA8-22F2-203C0F190942}"/>
          </ac:spMkLst>
        </pc:spChg>
        <pc:spChg chg="mod">
          <ac:chgData name="Clark, Connie" userId="73351e60-ad32-4085-a232-1d9f9b189479" providerId="ADAL" clId="{5F87A5E2-C2A2-4F23-BC8C-28F7F5EA6CA7}" dt="2024-03-30T02:09:50.120" v="12924" actId="1076"/>
          <ac:spMkLst>
            <pc:docMk/>
            <pc:sldMk cId="2340160821" sldId="2147376814"/>
            <ac:spMk id="147" creationId="{73372E18-42B4-C4AF-F036-ED93EF904F85}"/>
          </ac:spMkLst>
        </pc:spChg>
        <pc:spChg chg="mod">
          <ac:chgData name="Clark, Connie" userId="73351e60-ad32-4085-a232-1d9f9b189479" providerId="ADAL" clId="{5F87A5E2-C2A2-4F23-BC8C-28F7F5EA6CA7}" dt="2024-03-30T02:09:50.120" v="12924" actId="1076"/>
          <ac:spMkLst>
            <pc:docMk/>
            <pc:sldMk cId="2340160821" sldId="2147376814"/>
            <ac:spMk id="148" creationId="{3AA418C2-4437-57D0-7340-C11112637033}"/>
          </ac:spMkLst>
        </pc:spChg>
        <pc:spChg chg="mod">
          <ac:chgData name="Clark, Connie" userId="73351e60-ad32-4085-a232-1d9f9b189479" providerId="ADAL" clId="{5F87A5E2-C2A2-4F23-BC8C-28F7F5EA6CA7}" dt="2024-03-30T02:09:50.120" v="12924" actId="1076"/>
          <ac:spMkLst>
            <pc:docMk/>
            <pc:sldMk cId="2340160821" sldId="2147376814"/>
            <ac:spMk id="150" creationId="{DC02DC64-44E5-23E2-312B-F780523F138F}"/>
          </ac:spMkLst>
        </pc:spChg>
        <pc:spChg chg="mod">
          <ac:chgData name="Clark, Connie" userId="73351e60-ad32-4085-a232-1d9f9b189479" providerId="ADAL" clId="{5F87A5E2-C2A2-4F23-BC8C-28F7F5EA6CA7}" dt="2024-03-30T02:09:50.120" v="12924" actId="1076"/>
          <ac:spMkLst>
            <pc:docMk/>
            <pc:sldMk cId="2340160821" sldId="2147376814"/>
            <ac:spMk id="153" creationId="{A5D84D0A-55B5-84F4-4CEC-FAC3896098C5}"/>
          </ac:spMkLst>
        </pc:spChg>
        <pc:spChg chg="mod">
          <ac:chgData name="Clark, Connie" userId="73351e60-ad32-4085-a232-1d9f9b189479" providerId="ADAL" clId="{5F87A5E2-C2A2-4F23-BC8C-28F7F5EA6CA7}" dt="2024-03-30T02:09:50.120" v="12924" actId="1076"/>
          <ac:spMkLst>
            <pc:docMk/>
            <pc:sldMk cId="2340160821" sldId="2147376814"/>
            <ac:spMk id="159" creationId="{CAD2F19B-3B73-081A-2020-15F2F4CF4636}"/>
          </ac:spMkLst>
        </pc:spChg>
        <pc:spChg chg="mod">
          <ac:chgData name="Clark, Connie" userId="73351e60-ad32-4085-a232-1d9f9b189479" providerId="ADAL" clId="{5F87A5E2-C2A2-4F23-BC8C-28F7F5EA6CA7}" dt="2024-03-30T02:09:50.120" v="12924" actId="1076"/>
          <ac:spMkLst>
            <pc:docMk/>
            <pc:sldMk cId="2340160821" sldId="2147376814"/>
            <ac:spMk id="160" creationId="{3025646D-C33F-17EB-BB86-8E677B1AF685}"/>
          </ac:spMkLst>
        </pc:spChg>
        <pc:spChg chg="mod">
          <ac:chgData name="Clark, Connie" userId="73351e60-ad32-4085-a232-1d9f9b189479" providerId="ADAL" clId="{5F87A5E2-C2A2-4F23-BC8C-28F7F5EA6CA7}" dt="2024-03-30T02:09:50.120" v="12924" actId="1076"/>
          <ac:spMkLst>
            <pc:docMk/>
            <pc:sldMk cId="2340160821" sldId="2147376814"/>
            <ac:spMk id="162" creationId="{6D947AB7-1774-262F-D522-0BE897BBC2DF}"/>
          </ac:spMkLst>
        </pc:spChg>
        <pc:spChg chg="del">
          <ac:chgData name="Clark, Connie" userId="73351e60-ad32-4085-a232-1d9f9b189479" providerId="ADAL" clId="{5F87A5E2-C2A2-4F23-BC8C-28F7F5EA6CA7}" dt="2024-03-30T02:09:34.553" v="12923" actId="478"/>
          <ac:spMkLst>
            <pc:docMk/>
            <pc:sldMk cId="2340160821" sldId="2147376814"/>
            <ac:spMk id="176" creationId="{7904F9E7-6A77-80B1-9CDB-2717F95B7975}"/>
          </ac:spMkLst>
        </pc:spChg>
        <pc:spChg chg="del">
          <ac:chgData name="Clark, Connie" userId="73351e60-ad32-4085-a232-1d9f9b189479" providerId="ADAL" clId="{5F87A5E2-C2A2-4F23-BC8C-28F7F5EA6CA7}" dt="2024-03-30T02:09:32.450" v="12922" actId="478"/>
          <ac:spMkLst>
            <pc:docMk/>
            <pc:sldMk cId="2340160821" sldId="2147376814"/>
            <ac:spMk id="177" creationId="{17B6D0C4-6F94-BA62-2289-990E84E4C233}"/>
          </ac:spMkLst>
        </pc:spChg>
        <pc:cxnChg chg="mod">
          <ac:chgData name="Clark, Connie" userId="73351e60-ad32-4085-a232-1d9f9b189479" providerId="ADAL" clId="{5F87A5E2-C2A2-4F23-BC8C-28F7F5EA6CA7}" dt="2024-03-30T02:09:50.120" v="12924" actId="1076"/>
          <ac:cxnSpMkLst>
            <pc:docMk/>
            <pc:sldMk cId="2340160821" sldId="2147376814"/>
            <ac:cxnSpMk id="92" creationId="{1534CF68-17D8-A7AC-9ECE-794BA285A628}"/>
          </ac:cxnSpMkLst>
        </pc:cxnChg>
        <pc:cxnChg chg="mod">
          <ac:chgData name="Clark, Connie" userId="73351e60-ad32-4085-a232-1d9f9b189479" providerId="ADAL" clId="{5F87A5E2-C2A2-4F23-BC8C-28F7F5EA6CA7}" dt="2024-03-30T02:09:50.120" v="12924" actId="1076"/>
          <ac:cxnSpMkLst>
            <pc:docMk/>
            <pc:sldMk cId="2340160821" sldId="2147376814"/>
            <ac:cxnSpMk id="94" creationId="{172AB6B9-18F9-A1BC-0FCC-CC99C8AB4734}"/>
          </ac:cxnSpMkLst>
        </pc:cxnChg>
        <pc:cxnChg chg="mod">
          <ac:chgData name="Clark, Connie" userId="73351e60-ad32-4085-a232-1d9f9b189479" providerId="ADAL" clId="{5F87A5E2-C2A2-4F23-BC8C-28F7F5EA6CA7}" dt="2024-03-30T02:09:50.120" v="12924" actId="1076"/>
          <ac:cxnSpMkLst>
            <pc:docMk/>
            <pc:sldMk cId="2340160821" sldId="2147376814"/>
            <ac:cxnSpMk id="95" creationId="{DE7C84B0-E007-3C4C-DFEA-4CE6CD0BAB83}"/>
          </ac:cxnSpMkLst>
        </pc:cxnChg>
        <pc:cxnChg chg="mod">
          <ac:chgData name="Clark, Connie" userId="73351e60-ad32-4085-a232-1d9f9b189479" providerId="ADAL" clId="{5F87A5E2-C2A2-4F23-BC8C-28F7F5EA6CA7}" dt="2024-03-30T02:09:50.120" v="12924" actId="1076"/>
          <ac:cxnSpMkLst>
            <pc:docMk/>
            <pc:sldMk cId="2340160821" sldId="2147376814"/>
            <ac:cxnSpMk id="96" creationId="{62C2AEAB-139D-8A69-D63D-01A1D8493D27}"/>
          </ac:cxnSpMkLst>
        </pc:cxnChg>
        <pc:cxnChg chg="mod">
          <ac:chgData name="Clark, Connie" userId="73351e60-ad32-4085-a232-1d9f9b189479" providerId="ADAL" clId="{5F87A5E2-C2A2-4F23-BC8C-28F7F5EA6CA7}" dt="2024-03-30T02:09:50.120" v="12924" actId="1076"/>
          <ac:cxnSpMkLst>
            <pc:docMk/>
            <pc:sldMk cId="2340160821" sldId="2147376814"/>
            <ac:cxnSpMk id="97" creationId="{C20D3E7B-588E-3255-CE90-A8FBCA0D6801}"/>
          </ac:cxnSpMkLst>
        </pc:cxnChg>
        <pc:cxnChg chg="mod">
          <ac:chgData name="Clark, Connie" userId="73351e60-ad32-4085-a232-1d9f9b189479" providerId="ADAL" clId="{5F87A5E2-C2A2-4F23-BC8C-28F7F5EA6CA7}" dt="2024-03-30T02:09:50.120" v="12924" actId="1076"/>
          <ac:cxnSpMkLst>
            <pc:docMk/>
            <pc:sldMk cId="2340160821" sldId="2147376814"/>
            <ac:cxnSpMk id="98" creationId="{5A00527B-9172-FC96-B44E-B2498D905DBA}"/>
          </ac:cxnSpMkLst>
        </pc:cxnChg>
        <pc:cxnChg chg="mod">
          <ac:chgData name="Clark, Connie" userId="73351e60-ad32-4085-a232-1d9f9b189479" providerId="ADAL" clId="{5F87A5E2-C2A2-4F23-BC8C-28F7F5EA6CA7}" dt="2024-03-30T02:09:50.120" v="12924" actId="1076"/>
          <ac:cxnSpMkLst>
            <pc:docMk/>
            <pc:sldMk cId="2340160821" sldId="2147376814"/>
            <ac:cxnSpMk id="109" creationId="{BA7D6F86-EB8D-EC5D-4294-3E1AFF6C2C68}"/>
          </ac:cxnSpMkLst>
        </pc:cxnChg>
        <pc:cxnChg chg="mod">
          <ac:chgData name="Clark, Connie" userId="73351e60-ad32-4085-a232-1d9f9b189479" providerId="ADAL" clId="{5F87A5E2-C2A2-4F23-BC8C-28F7F5EA6CA7}" dt="2024-03-30T02:09:50.120" v="12924" actId="1076"/>
          <ac:cxnSpMkLst>
            <pc:docMk/>
            <pc:sldMk cId="2340160821" sldId="2147376814"/>
            <ac:cxnSpMk id="110" creationId="{5182C397-7145-FDA7-F9A4-DBE3E21F1422}"/>
          </ac:cxnSpMkLst>
        </pc:cxnChg>
        <pc:cxnChg chg="mod">
          <ac:chgData name="Clark, Connie" userId="73351e60-ad32-4085-a232-1d9f9b189479" providerId="ADAL" clId="{5F87A5E2-C2A2-4F23-BC8C-28F7F5EA6CA7}" dt="2024-03-30T02:09:50.120" v="12924" actId="1076"/>
          <ac:cxnSpMkLst>
            <pc:docMk/>
            <pc:sldMk cId="2340160821" sldId="2147376814"/>
            <ac:cxnSpMk id="111" creationId="{7E2BA00F-17A1-A023-0448-A0F961FE8FE1}"/>
          </ac:cxnSpMkLst>
        </pc:cxnChg>
        <pc:cxnChg chg="mod">
          <ac:chgData name="Clark, Connie" userId="73351e60-ad32-4085-a232-1d9f9b189479" providerId="ADAL" clId="{5F87A5E2-C2A2-4F23-BC8C-28F7F5EA6CA7}" dt="2024-03-30T02:09:50.120" v="12924" actId="1076"/>
          <ac:cxnSpMkLst>
            <pc:docMk/>
            <pc:sldMk cId="2340160821" sldId="2147376814"/>
            <ac:cxnSpMk id="112" creationId="{6EB0733D-63E9-6375-885C-AEE8A852569B}"/>
          </ac:cxnSpMkLst>
        </pc:cxnChg>
        <pc:cxnChg chg="mod">
          <ac:chgData name="Clark, Connie" userId="73351e60-ad32-4085-a232-1d9f9b189479" providerId="ADAL" clId="{5F87A5E2-C2A2-4F23-BC8C-28F7F5EA6CA7}" dt="2024-03-30T02:09:50.120" v="12924" actId="1076"/>
          <ac:cxnSpMkLst>
            <pc:docMk/>
            <pc:sldMk cId="2340160821" sldId="2147376814"/>
            <ac:cxnSpMk id="118" creationId="{2E955162-9E74-1B13-5B44-5E145C90AC23}"/>
          </ac:cxnSpMkLst>
        </pc:cxnChg>
        <pc:cxnChg chg="mod">
          <ac:chgData name="Clark, Connie" userId="73351e60-ad32-4085-a232-1d9f9b189479" providerId="ADAL" clId="{5F87A5E2-C2A2-4F23-BC8C-28F7F5EA6CA7}" dt="2024-03-30T02:09:50.120" v="12924" actId="1076"/>
          <ac:cxnSpMkLst>
            <pc:docMk/>
            <pc:sldMk cId="2340160821" sldId="2147376814"/>
            <ac:cxnSpMk id="119" creationId="{BFF16F85-8E58-34CC-CF9B-AFFC2618CAE3}"/>
          </ac:cxnSpMkLst>
        </pc:cxnChg>
        <pc:cxnChg chg="mod">
          <ac:chgData name="Clark, Connie" userId="73351e60-ad32-4085-a232-1d9f9b189479" providerId="ADAL" clId="{5F87A5E2-C2A2-4F23-BC8C-28F7F5EA6CA7}" dt="2024-03-30T02:09:50.120" v="12924" actId="1076"/>
          <ac:cxnSpMkLst>
            <pc:docMk/>
            <pc:sldMk cId="2340160821" sldId="2147376814"/>
            <ac:cxnSpMk id="120" creationId="{ABACD6F2-AB16-EBA3-E8EF-48154F302AFF}"/>
          </ac:cxnSpMkLst>
        </pc:cxnChg>
        <pc:cxnChg chg="mod">
          <ac:chgData name="Clark, Connie" userId="73351e60-ad32-4085-a232-1d9f9b189479" providerId="ADAL" clId="{5F87A5E2-C2A2-4F23-BC8C-28F7F5EA6CA7}" dt="2024-03-30T02:09:50.120" v="12924" actId="1076"/>
          <ac:cxnSpMkLst>
            <pc:docMk/>
            <pc:sldMk cId="2340160821" sldId="2147376814"/>
            <ac:cxnSpMk id="121" creationId="{0F67CDD3-44EB-2AC0-027A-80E40C16A039}"/>
          </ac:cxnSpMkLst>
        </pc:cxnChg>
        <pc:cxnChg chg="mod">
          <ac:chgData name="Clark, Connie" userId="73351e60-ad32-4085-a232-1d9f9b189479" providerId="ADAL" clId="{5F87A5E2-C2A2-4F23-BC8C-28F7F5EA6CA7}" dt="2024-03-30T02:09:50.120" v="12924" actId="1076"/>
          <ac:cxnSpMkLst>
            <pc:docMk/>
            <pc:sldMk cId="2340160821" sldId="2147376814"/>
            <ac:cxnSpMk id="122" creationId="{762C38A8-3CAF-899C-D7D6-6AA0EF73469E}"/>
          </ac:cxnSpMkLst>
        </pc:cxnChg>
        <pc:cxnChg chg="mod">
          <ac:chgData name="Clark, Connie" userId="73351e60-ad32-4085-a232-1d9f9b189479" providerId="ADAL" clId="{5F87A5E2-C2A2-4F23-BC8C-28F7F5EA6CA7}" dt="2024-03-30T02:09:50.120" v="12924" actId="1076"/>
          <ac:cxnSpMkLst>
            <pc:docMk/>
            <pc:sldMk cId="2340160821" sldId="2147376814"/>
            <ac:cxnSpMk id="141" creationId="{2ED6E18F-4594-8FA7-B97E-19A3B868E224}"/>
          </ac:cxnSpMkLst>
        </pc:cxnChg>
        <pc:cxnChg chg="mod">
          <ac:chgData name="Clark, Connie" userId="73351e60-ad32-4085-a232-1d9f9b189479" providerId="ADAL" clId="{5F87A5E2-C2A2-4F23-BC8C-28F7F5EA6CA7}" dt="2024-03-30T02:09:50.120" v="12924" actId="1076"/>
          <ac:cxnSpMkLst>
            <pc:docMk/>
            <pc:sldMk cId="2340160821" sldId="2147376814"/>
            <ac:cxnSpMk id="144" creationId="{184F79ED-426D-16A0-FB67-29D6FF6C8DEB}"/>
          </ac:cxnSpMkLst>
        </pc:cxnChg>
        <pc:cxnChg chg="mod">
          <ac:chgData name="Clark, Connie" userId="73351e60-ad32-4085-a232-1d9f9b189479" providerId="ADAL" clId="{5F87A5E2-C2A2-4F23-BC8C-28F7F5EA6CA7}" dt="2024-03-30T02:09:50.120" v="12924" actId="1076"/>
          <ac:cxnSpMkLst>
            <pc:docMk/>
            <pc:sldMk cId="2340160821" sldId="2147376814"/>
            <ac:cxnSpMk id="145" creationId="{1EC0A532-01D6-D1B7-F5F6-428F107E79B0}"/>
          </ac:cxnSpMkLst>
        </pc:cxnChg>
        <pc:cxnChg chg="mod">
          <ac:chgData name="Clark, Connie" userId="73351e60-ad32-4085-a232-1d9f9b189479" providerId="ADAL" clId="{5F87A5E2-C2A2-4F23-BC8C-28F7F5EA6CA7}" dt="2024-03-30T02:09:50.120" v="12924" actId="1076"/>
          <ac:cxnSpMkLst>
            <pc:docMk/>
            <pc:sldMk cId="2340160821" sldId="2147376814"/>
            <ac:cxnSpMk id="146" creationId="{6B47A4FC-7D9A-8943-CAB6-61D6DAA34FDB}"/>
          </ac:cxnSpMkLst>
        </pc:cxnChg>
        <pc:cxnChg chg="mod">
          <ac:chgData name="Clark, Connie" userId="73351e60-ad32-4085-a232-1d9f9b189479" providerId="ADAL" clId="{5F87A5E2-C2A2-4F23-BC8C-28F7F5EA6CA7}" dt="2024-03-30T02:09:50.120" v="12924" actId="1076"/>
          <ac:cxnSpMkLst>
            <pc:docMk/>
            <pc:sldMk cId="2340160821" sldId="2147376814"/>
            <ac:cxnSpMk id="149" creationId="{82E29DA6-BCF1-80D6-8FD0-D078F758DADC}"/>
          </ac:cxnSpMkLst>
        </pc:cxnChg>
        <pc:cxnChg chg="mod">
          <ac:chgData name="Clark, Connie" userId="73351e60-ad32-4085-a232-1d9f9b189479" providerId="ADAL" clId="{5F87A5E2-C2A2-4F23-BC8C-28F7F5EA6CA7}" dt="2024-03-30T02:09:50.120" v="12924" actId="1076"/>
          <ac:cxnSpMkLst>
            <pc:docMk/>
            <pc:sldMk cId="2340160821" sldId="2147376814"/>
            <ac:cxnSpMk id="151" creationId="{9C078A26-B394-88EF-EC2B-64348971AB1F}"/>
          </ac:cxnSpMkLst>
        </pc:cxnChg>
        <pc:cxnChg chg="mod">
          <ac:chgData name="Clark, Connie" userId="73351e60-ad32-4085-a232-1d9f9b189479" providerId="ADAL" clId="{5F87A5E2-C2A2-4F23-BC8C-28F7F5EA6CA7}" dt="2024-03-30T02:09:50.120" v="12924" actId="1076"/>
          <ac:cxnSpMkLst>
            <pc:docMk/>
            <pc:sldMk cId="2340160821" sldId="2147376814"/>
            <ac:cxnSpMk id="152" creationId="{B688AD7E-3412-1D53-3C6A-E77BFAF92FFB}"/>
          </ac:cxnSpMkLst>
        </pc:cxnChg>
        <pc:cxnChg chg="mod">
          <ac:chgData name="Clark, Connie" userId="73351e60-ad32-4085-a232-1d9f9b189479" providerId="ADAL" clId="{5F87A5E2-C2A2-4F23-BC8C-28F7F5EA6CA7}" dt="2024-03-30T02:09:50.120" v="12924" actId="1076"/>
          <ac:cxnSpMkLst>
            <pc:docMk/>
            <pc:sldMk cId="2340160821" sldId="2147376814"/>
            <ac:cxnSpMk id="154" creationId="{7B604D61-4E63-7317-E9D7-C070742CD206}"/>
          </ac:cxnSpMkLst>
        </pc:cxnChg>
        <pc:cxnChg chg="mod">
          <ac:chgData name="Clark, Connie" userId="73351e60-ad32-4085-a232-1d9f9b189479" providerId="ADAL" clId="{5F87A5E2-C2A2-4F23-BC8C-28F7F5EA6CA7}" dt="2024-03-30T02:09:50.120" v="12924" actId="1076"/>
          <ac:cxnSpMkLst>
            <pc:docMk/>
            <pc:sldMk cId="2340160821" sldId="2147376814"/>
            <ac:cxnSpMk id="158" creationId="{D15947B4-1722-4372-1790-5EA0330D785F}"/>
          </ac:cxnSpMkLst>
        </pc:cxnChg>
        <pc:cxnChg chg="mod">
          <ac:chgData name="Clark, Connie" userId="73351e60-ad32-4085-a232-1d9f9b189479" providerId="ADAL" clId="{5F87A5E2-C2A2-4F23-BC8C-28F7F5EA6CA7}" dt="2024-03-30T02:09:50.120" v="12924" actId="1076"/>
          <ac:cxnSpMkLst>
            <pc:docMk/>
            <pc:sldMk cId="2340160821" sldId="2147376814"/>
            <ac:cxnSpMk id="161" creationId="{5162F612-AD4D-48ED-C277-5E99687B8C3E}"/>
          </ac:cxnSpMkLst>
        </pc:cxnChg>
      </pc:sldChg>
      <pc:sldChg chg="addSp delSp modSp add del mod ord">
        <pc:chgData name="Clark, Connie" userId="73351e60-ad32-4085-a232-1d9f9b189479" providerId="ADAL" clId="{5F87A5E2-C2A2-4F23-BC8C-28F7F5EA6CA7}" dt="2024-05-24T00:02:43.346" v="31034" actId="2696"/>
        <pc:sldMkLst>
          <pc:docMk/>
          <pc:sldMk cId="3078222416" sldId="2147376815"/>
        </pc:sldMkLst>
        <pc:spChg chg="mod">
          <ac:chgData name="Clark, Connie" userId="73351e60-ad32-4085-a232-1d9f9b189479" providerId="ADAL" clId="{5F87A5E2-C2A2-4F23-BC8C-28F7F5EA6CA7}" dt="2024-03-30T20:33:34.238" v="13773" actId="20577"/>
          <ac:spMkLst>
            <pc:docMk/>
            <pc:sldMk cId="3078222416" sldId="2147376815"/>
            <ac:spMk id="21" creationId="{B3D4CB30-715B-E29B-DF50-18ACA0123CD0}"/>
          </ac:spMkLst>
        </pc:spChg>
        <pc:picChg chg="add del mod">
          <ac:chgData name="Clark, Connie" userId="73351e60-ad32-4085-a232-1d9f9b189479" providerId="ADAL" clId="{5F87A5E2-C2A2-4F23-BC8C-28F7F5EA6CA7}" dt="2024-03-30T21:43:43.707" v="14702" actId="478"/>
          <ac:picMkLst>
            <pc:docMk/>
            <pc:sldMk cId="3078222416" sldId="2147376815"/>
            <ac:picMk id="3" creationId="{BFD22D2E-EDC3-0D79-3B93-3A0ACA524A8D}"/>
          </ac:picMkLst>
        </pc:picChg>
      </pc:sldChg>
      <pc:sldChg chg="addSp delSp modSp add del mod ord">
        <pc:chgData name="Clark, Connie" userId="73351e60-ad32-4085-a232-1d9f9b189479" providerId="ADAL" clId="{5F87A5E2-C2A2-4F23-BC8C-28F7F5EA6CA7}" dt="2024-03-31T01:12:09.202" v="17003" actId="47"/>
        <pc:sldMkLst>
          <pc:docMk/>
          <pc:sldMk cId="2634293534" sldId="2147376816"/>
        </pc:sldMkLst>
        <pc:spChg chg="add del mod">
          <ac:chgData name="Clark, Connie" userId="73351e60-ad32-4085-a232-1d9f9b189479" providerId="ADAL" clId="{5F87A5E2-C2A2-4F23-BC8C-28F7F5EA6CA7}" dt="2024-03-30T20:26:29.018" v="13694"/>
          <ac:spMkLst>
            <pc:docMk/>
            <pc:sldMk cId="2634293534" sldId="2147376816"/>
            <ac:spMk id="2" creationId="{1B54CB0B-A589-6ECE-163B-FE3D1296B991}"/>
          </ac:spMkLst>
        </pc:spChg>
        <pc:spChg chg="add del mod">
          <ac:chgData name="Clark, Connie" userId="73351e60-ad32-4085-a232-1d9f9b189479" providerId="ADAL" clId="{5F87A5E2-C2A2-4F23-BC8C-28F7F5EA6CA7}" dt="2024-03-30T20:26:29.018" v="13694"/>
          <ac:spMkLst>
            <pc:docMk/>
            <pc:sldMk cId="2634293534" sldId="2147376816"/>
            <ac:spMk id="3" creationId="{D0451410-B3AC-F481-0823-04EE5E90B583}"/>
          </ac:spMkLst>
        </pc:spChg>
        <pc:spChg chg="mod">
          <ac:chgData name="Clark, Connie" userId="73351e60-ad32-4085-a232-1d9f9b189479" providerId="ADAL" clId="{5F87A5E2-C2A2-4F23-BC8C-28F7F5EA6CA7}" dt="2024-03-30T22:35:44.431" v="15363" actId="1076"/>
          <ac:spMkLst>
            <pc:docMk/>
            <pc:sldMk cId="2634293534" sldId="2147376816"/>
            <ac:spMk id="4" creationId="{7E78FA78-ABD1-E962-7429-A8D1FDE37E9F}"/>
          </ac:spMkLst>
        </pc:spChg>
        <pc:spChg chg="add del mod">
          <ac:chgData name="Clark, Connie" userId="73351e60-ad32-4085-a232-1d9f9b189479" providerId="ADAL" clId="{5F87A5E2-C2A2-4F23-BC8C-28F7F5EA6CA7}" dt="2024-03-30T20:26:29.018" v="13694"/>
          <ac:spMkLst>
            <pc:docMk/>
            <pc:sldMk cId="2634293534" sldId="2147376816"/>
            <ac:spMk id="6" creationId="{62F006E0-E6EE-2FEE-9F14-BEEFCC7889C8}"/>
          </ac:spMkLst>
        </pc:spChg>
        <pc:spChg chg="add del mod">
          <ac:chgData name="Clark, Connie" userId="73351e60-ad32-4085-a232-1d9f9b189479" providerId="ADAL" clId="{5F87A5E2-C2A2-4F23-BC8C-28F7F5EA6CA7}" dt="2024-03-30T20:26:29.018" v="13694"/>
          <ac:spMkLst>
            <pc:docMk/>
            <pc:sldMk cId="2634293534" sldId="2147376816"/>
            <ac:spMk id="11" creationId="{DD25AA17-BAD8-956B-62AA-15C66A2BBFBD}"/>
          </ac:spMkLst>
        </pc:spChg>
        <pc:spChg chg="add del mod">
          <ac:chgData name="Clark, Connie" userId="73351e60-ad32-4085-a232-1d9f9b189479" providerId="ADAL" clId="{5F87A5E2-C2A2-4F23-BC8C-28F7F5EA6CA7}" dt="2024-03-30T20:26:29.018" v="13694"/>
          <ac:spMkLst>
            <pc:docMk/>
            <pc:sldMk cId="2634293534" sldId="2147376816"/>
            <ac:spMk id="12" creationId="{1AFB8F60-7A7C-1F6D-7BF9-B667E77AA5EB}"/>
          </ac:spMkLst>
        </pc:spChg>
        <pc:spChg chg="add del mod">
          <ac:chgData name="Clark, Connie" userId="73351e60-ad32-4085-a232-1d9f9b189479" providerId="ADAL" clId="{5F87A5E2-C2A2-4F23-BC8C-28F7F5EA6CA7}" dt="2024-03-30T20:26:29.018" v="13694"/>
          <ac:spMkLst>
            <pc:docMk/>
            <pc:sldMk cId="2634293534" sldId="2147376816"/>
            <ac:spMk id="13" creationId="{B5B8B27B-7A19-7566-4686-A5879EC7F8C2}"/>
          </ac:spMkLst>
        </pc:spChg>
        <pc:spChg chg="add del mod">
          <ac:chgData name="Clark, Connie" userId="73351e60-ad32-4085-a232-1d9f9b189479" providerId="ADAL" clId="{5F87A5E2-C2A2-4F23-BC8C-28F7F5EA6CA7}" dt="2024-03-30T20:26:29.018" v="13694"/>
          <ac:spMkLst>
            <pc:docMk/>
            <pc:sldMk cId="2634293534" sldId="2147376816"/>
            <ac:spMk id="14" creationId="{BFE15B0D-2C9F-18CD-B933-4C86BA1EE66D}"/>
          </ac:spMkLst>
        </pc:spChg>
        <pc:spChg chg="add del mod">
          <ac:chgData name="Clark, Connie" userId="73351e60-ad32-4085-a232-1d9f9b189479" providerId="ADAL" clId="{5F87A5E2-C2A2-4F23-BC8C-28F7F5EA6CA7}" dt="2024-03-30T20:26:29.018" v="13694"/>
          <ac:spMkLst>
            <pc:docMk/>
            <pc:sldMk cId="2634293534" sldId="2147376816"/>
            <ac:spMk id="15" creationId="{E0F989D3-9A98-A06D-B5E2-85C28942BED0}"/>
          </ac:spMkLst>
        </pc:spChg>
        <pc:spChg chg="add del mod">
          <ac:chgData name="Clark, Connie" userId="73351e60-ad32-4085-a232-1d9f9b189479" providerId="ADAL" clId="{5F87A5E2-C2A2-4F23-BC8C-28F7F5EA6CA7}" dt="2024-03-30T20:26:29.018" v="13694"/>
          <ac:spMkLst>
            <pc:docMk/>
            <pc:sldMk cId="2634293534" sldId="2147376816"/>
            <ac:spMk id="16" creationId="{3B4D82DC-3E3F-4512-552C-ABB4C810E481}"/>
          </ac:spMkLst>
        </pc:spChg>
        <pc:spChg chg="add del mod">
          <ac:chgData name="Clark, Connie" userId="73351e60-ad32-4085-a232-1d9f9b189479" providerId="ADAL" clId="{5F87A5E2-C2A2-4F23-BC8C-28F7F5EA6CA7}" dt="2024-03-30T20:26:29.018" v="13694"/>
          <ac:spMkLst>
            <pc:docMk/>
            <pc:sldMk cId="2634293534" sldId="2147376816"/>
            <ac:spMk id="17" creationId="{6ED4E2D9-C849-61FB-A249-669051803D9B}"/>
          </ac:spMkLst>
        </pc:spChg>
        <pc:spChg chg="add del mod">
          <ac:chgData name="Clark, Connie" userId="73351e60-ad32-4085-a232-1d9f9b189479" providerId="ADAL" clId="{5F87A5E2-C2A2-4F23-BC8C-28F7F5EA6CA7}" dt="2024-03-30T20:26:29.018" v="13694"/>
          <ac:spMkLst>
            <pc:docMk/>
            <pc:sldMk cId="2634293534" sldId="2147376816"/>
            <ac:spMk id="18" creationId="{944DB7BD-62FB-64BE-9761-CC95FC18E70F}"/>
          </ac:spMkLst>
        </pc:spChg>
        <pc:spChg chg="add del">
          <ac:chgData name="Clark, Connie" userId="73351e60-ad32-4085-a232-1d9f9b189479" providerId="ADAL" clId="{5F87A5E2-C2A2-4F23-BC8C-28F7F5EA6CA7}" dt="2024-03-30T21:15:44.882" v="13971" actId="478"/>
          <ac:spMkLst>
            <pc:docMk/>
            <pc:sldMk cId="2634293534" sldId="2147376816"/>
            <ac:spMk id="19" creationId="{EB1B145D-C6D0-7636-B993-3B67735A0205}"/>
          </ac:spMkLst>
        </pc:spChg>
        <pc:spChg chg="add del mod">
          <ac:chgData name="Clark, Connie" userId="73351e60-ad32-4085-a232-1d9f9b189479" providerId="ADAL" clId="{5F87A5E2-C2A2-4F23-BC8C-28F7F5EA6CA7}" dt="2024-03-30T21:15:39.869" v="13969" actId="478"/>
          <ac:spMkLst>
            <pc:docMk/>
            <pc:sldMk cId="2634293534" sldId="2147376816"/>
            <ac:spMk id="20" creationId="{B364C7AA-1A82-1ABC-7A5D-9C0E7341BBB7}"/>
          </ac:spMkLst>
        </pc:spChg>
        <pc:spChg chg="del">
          <ac:chgData name="Clark, Connie" userId="73351e60-ad32-4085-a232-1d9f9b189479" providerId="ADAL" clId="{5F87A5E2-C2A2-4F23-BC8C-28F7F5EA6CA7}" dt="2024-03-30T20:25:48.656" v="13690" actId="478"/>
          <ac:spMkLst>
            <pc:docMk/>
            <pc:sldMk cId="2634293534" sldId="2147376816"/>
            <ac:spMk id="21" creationId="{B3D4CB30-715B-E29B-DF50-18ACA0123CD0}"/>
          </ac:spMkLst>
        </pc:spChg>
        <pc:spChg chg="add del mod">
          <ac:chgData name="Clark, Connie" userId="73351e60-ad32-4085-a232-1d9f9b189479" providerId="ADAL" clId="{5F87A5E2-C2A2-4F23-BC8C-28F7F5EA6CA7}" dt="2024-03-30T21:15:39.869" v="13969" actId="478"/>
          <ac:spMkLst>
            <pc:docMk/>
            <pc:sldMk cId="2634293534" sldId="2147376816"/>
            <ac:spMk id="22" creationId="{E2430613-52F7-6A14-366A-6C9E119CF403}"/>
          </ac:spMkLst>
        </pc:spChg>
        <pc:spChg chg="add del mod">
          <ac:chgData name="Clark, Connie" userId="73351e60-ad32-4085-a232-1d9f9b189479" providerId="ADAL" clId="{5F87A5E2-C2A2-4F23-BC8C-28F7F5EA6CA7}" dt="2024-03-30T21:15:39.869" v="13969" actId="478"/>
          <ac:spMkLst>
            <pc:docMk/>
            <pc:sldMk cId="2634293534" sldId="2147376816"/>
            <ac:spMk id="24" creationId="{2C6551CF-99A2-F1AF-0EBC-70D0F3125422}"/>
          </ac:spMkLst>
        </pc:spChg>
        <pc:spChg chg="add del mod">
          <ac:chgData name="Clark, Connie" userId="73351e60-ad32-4085-a232-1d9f9b189479" providerId="ADAL" clId="{5F87A5E2-C2A2-4F23-BC8C-28F7F5EA6CA7}" dt="2024-03-30T21:15:39.869" v="13969" actId="478"/>
          <ac:spMkLst>
            <pc:docMk/>
            <pc:sldMk cId="2634293534" sldId="2147376816"/>
            <ac:spMk id="27" creationId="{FB3BA971-422A-5B05-21E9-254ED58E8089}"/>
          </ac:spMkLst>
        </pc:spChg>
        <pc:spChg chg="add del mod">
          <ac:chgData name="Clark, Connie" userId="73351e60-ad32-4085-a232-1d9f9b189479" providerId="ADAL" clId="{5F87A5E2-C2A2-4F23-BC8C-28F7F5EA6CA7}" dt="2024-03-30T21:15:39.869" v="13969" actId="478"/>
          <ac:spMkLst>
            <pc:docMk/>
            <pc:sldMk cId="2634293534" sldId="2147376816"/>
            <ac:spMk id="28" creationId="{E8FB5F69-1B6A-1297-BCD1-E71548812BEA}"/>
          </ac:spMkLst>
        </pc:spChg>
        <pc:spChg chg="add del mod">
          <ac:chgData name="Clark, Connie" userId="73351e60-ad32-4085-a232-1d9f9b189479" providerId="ADAL" clId="{5F87A5E2-C2A2-4F23-BC8C-28F7F5EA6CA7}" dt="2024-03-30T21:15:39.869" v="13969" actId="478"/>
          <ac:spMkLst>
            <pc:docMk/>
            <pc:sldMk cId="2634293534" sldId="2147376816"/>
            <ac:spMk id="29" creationId="{CA88F673-5E34-6AD4-A772-55A62D5338C7}"/>
          </ac:spMkLst>
        </pc:spChg>
        <pc:spChg chg="add del mod">
          <ac:chgData name="Clark, Connie" userId="73351e60-ad32-4085-a232-1d9f9b189479" providerId="ADAL" clId="{5F87A5E2-C2A2-4F23-BC8C-28F7F5EA6CA7}" dt="2024-03-30T21:15:39.869" v="13969" actId="478"/>
          <ac:spMkLst>
            <pc:docMk/>
            <pc:sldMk cId="2634293534" sldId="2147376816"/>
            <ac:spMk id="30" creationId="{F8DFE172-FFAC-B422-097B-56788966A165}"/>
          </ac:spMkLst>
        </pc:spChg>
        <pc:spChg chg="add del mod">
          <ac:chgData name="Clark, Connie" userId="73351e60-ad32-4085-a232-1d9f9b189479" providerId="ADAL" clId="{5F87A5E2-C2A2-4F23-BC8C-28F7F5EA6CA7}" dt="2024-03-30T21:15:39.869" v="13969" actId="478"/>
          <ac:spMkLst>
            <pc:docMk/>
            <pc:sldMk cId="2634293534" sldId="2147376816"/>
            <ac:spMk id="31" creationId="{D2DFBBD0-2FF7-011C-A0C5-8531B889F281}"/>
          </ac:spMkLst>
        </pc:spChg>
        <pc:spChg chg="add del mod">
          <ac:chgData name="Clark, Connie" userId="73351e60-ad32-4085-a232-1d9f9b189479" providerId="ADAL" clId="{5F87A5E2-C2A2-4F23-BC8C-28F7F5EA6CA7}" dt="2024-03-30T21:15:39.869" v="13969" actId="478"/>
          <ac:spMkLst>
            <pc:docMk/>
            <pc:sldMk cId="2634293534" sldId="2147376816"/>
            <ac:spMk id="32" creationId="{A0FB9216-4C95-0A22-57CB-D8FE76BC3B9E}"/>
          </ac:spMkLst>
        </pc:spChg>
        <pc:spChg chg="add del mod">
          <ac:chgData name="Clark, Connie" userId="73351e60-ad32-4085-a232-1d9f9b189479" providerId="ADAL" clId="{5F87A5E2-C2A2-4F23-BC8C-28F7F5EA6CA7}" dt="2024-03-30T21:15:39.869" v="13969" actId="478"/>
          <ac:spMkLst>
            <pc:docMk/>
            <pc:sldMk cId="2634293534" sldId="2147376816"/>
            <ac:spMk id="33" creationId="{67BC22D9-1850-3517-6C25-E643ACC5CB34}"/>
          </ac:spMkLst>
        </pc:spChg>
        <pc:spChg chg="add del mod">
          <ac:chgData name="Clark, Connie" userId="73351e60-ad32-4085-a232-1d9f9b189479" providerId="ADAL" clId="{5F87A5E2-C2A2-4F23-BC8C-28F7F5EA6CA7}" dt="2024-03-30T21:15:39.869" v="13969" actId="478"/>
          <ac:spMkLst>
            <pc:docMk/>
            <pc:sldMk cId="2634293534" sldId="2147376816"/>
            <ac:spMk id="34" creationId="{EEB2F83F-F182-8B84-7F05-B7F86104C977}"/>
          </ac:spMkLst>
        </pc:spChg>
        <pc:spChg chg="add del mod">
          <ac:chgData name="Clark, Connie" userId="73351e60-ad32-4085-a232-1d9f9b189479" providerId="ADAL" clId="{5F87A5E2-C2A2-4F23-BC8C-28F7F5EA6CA7}" dt="2024-03-30T21:16:27.200" v="13977" actId="478"/>
          <ac:spMkLst>
            <pc:docMk/>
            <pc:sldMk cId="2634293534" sldId="2147376816"/>
            <ac:spMk id="35" creationId="{2B78D319-BFAD-0D37-5CD8-1CA01024109F}"/>
          </ac:spMkLst>
        </pc:spChg>
        <pc:spChg chg="add del mod">
          <ac:chgData name="Clark, Connie" userId="73351e60-ad32-4085-a232-1d9f9b189479" providerId="ADAL" clId="{5F87A5E2-C2A2-4F23-BC8C-28F7F5EA6CA7}" dt="2024-03-30T21:16:27.200" v="13977" actId="478"/>
          <ac:spMkLst>
            <pc:docMk/>
            <pc:sldMk cId="2634293534" sldId="2147376816"/>
            <ac:spMk id="36" creationId="{8F1A6A57-C88C-1C01-30B1-649F070D5BC8}"/>
          </ac:spMkLst>
        </pc:spChg>
        <pc:spChg chg="add del mod">
          <ac:chgData name="Clark, Connie" userId="73351e60-ad32-4085-a232-1d9f9b189479" providerId="ADAL" clId="{5F87A5E2-C2A2-4F23-BC8C-28F7F5EA6CA7}" dt="2024-03-30T21:16:27.200" v="13977" actId="478"/>
          <ac:spMkLst>
            <pc:docMk/>
            <pc:sldMk cId="2634293534" sldId="2147376816"/>
            <ac:spMk id="37" creationId="{24B5F71D-3A50-5058-DCB3-D4DDE8B75437}"/>
          </ac:spMkLst>
        </pc:spChg>
        <pc:spChg chg="add del mod">
          <ac:chgData name="Clark, Connie" userId="73351e60-ad32-4085-a232-1d9f9b189479" providerId="ADAL" clId="{5F87A5E2-C2A2-4F23-BC8C-28F7F5EA6CA7}" dt="2024-03-30T20:57:33.119" v="13897" actId="478"/>
          <ac:spMkLst>
            <pc:docMk/>
            <pc:sldMk cId="2634293534" sldId="2147376816"/>
            <ac:spMk id="40" creationId="{62396ABF-D317-DFEC-6D20-3815D7A0A43D}"/>
          </ac:spMkLst>
        </pc:spChg>
        <pc:spChg chg="add del mod">
          <ac:chgData name="Clark, Connie" userId="73351e60-ad32-4085-a232-1d9f9b189479" providerId="ADAL" clId="{5F87A5E2-C2A2-4F23-BC8C-28F7F5EA6CA7}" dt="2024-03-30T20:57:08.189" v="13892" actId="478"/>
          <ac:spMkLst>
            <pc:docMk/>
            <pc:sldMk cId="2634293534" sldId="2147376816"/>
            <ac:spMk id="41" creationId="{535367A3-C655-ADAF-6478-512F28A72414}"/>
          </ac:spMkLst>
        </pc:spChg>
        <pc:spChg chg="add del mod">
          <ac:chgData name="Clark, Connie" userId="73351e60-ad32-4085-a232-1d9f9b189479" providerId="ADAL" clId="{5F87A5E2-C2A2-4F23-BC8C-28F7F5EA6CA7}" dt="2024-03-30T20:57:32.064" v="13896" actId="478"/>
          <ac:spMkLst>
            <pc:docMk/>
            <pc:sldMk cId="2634293534" sldId="2147376816"/>
            <ac:spMk id="43" creationId="{E69F9121-88B3-D97D-1500-B9D53DC9CD67}"/>
          </ac:spMkLst>
        </pc:spChg>
        <pc:spChg chg="add del mod">
          <ac:chgData name="Clark, Connie" userId="73351e60-ad32-4085-a232-1d9f9b189479" providerId="ADAL" clId="{5F87A5E2-C2A2-4F23-BC8C-28F7F5EA6CA7}" dt="2024-03-30T21:02:06.031" v="13899" actId="478"/>
          <ac:spMkLst>
            <pc:docMk/>
            <pc:sldMk cId="2634293534" sldId="2147376816"/>
            <ac:spMk id="46" creationId="{E1E68D96-11DD-C9D0-1BE1-35D1F7D8AA4A}"/>
          </ac:spMkLst>
        </pc:spChg>
        <pc:spChg chg="add del mod">
          <ac:chgData name="Clark, Connie" userId="73351e60-ad32-4085-a232-1d9f9b189479" providerId="ADAL" clId="{5F87A5E2-C2A2-4F23-BC8C-28F7F5EA6CA7}" dt="2024-03-30T21:15:39.869" v="13969" actId="478"/>
          <ac:spMkLst>
            <pc:docMk/>
            <pc:sldMk cId="2634293534" sldId="2147376816"/>
            <ac:spMk id="50" creationId="{F046D939-1F3D-F0BF-D1BE-361267E4D81B}"/>
          </ac:spMkLst>
        </pc:spChg>
        <pc:spChg chg="add del mod">
          <ac:chgData name="Clark, Connie" userId="73351e60-ad32-4085-a232-1d9f9b189479" providerId="ADAL" clId="{5F87A5E2-C2A2-4F23-BC8C-28F7F5EA6CA7}" dt="2024-03-30T21:07:36.996" v="13914" actId="478"/>
          <ac:spMkLst>
            <pc:docMk/>
            <pc:sldMk cId="2634293534" sldId="2147376816"/>
            <ac:spMk id="53" creationId="{B5381A6A-BED4-008C-88B0-95EB7164604D}"/>
          </ac:spMkLst>
        </pc:spChg>
        <pc:spChg chg="add del mod">
          <ac:chgData name="Clark, Connie" userId="73351e60-ad32-4085-a232-1d9f9b189479" providerId="ADAL" clId="{5F87A5E2-C2A2-4F23-BC8C-28F7F5EA6CA7}" dt="2024-03-30T21:09:03.903" v="13916" actId="478"/>
          <ac:spMkLst>
            <pc:docMk/>
            <pc:sldMk cId="2634293534" sldId="2147376816"/>
            <ac:spMk id="56" creationId="{FCE8370C-27D3-B64E-1321-33FA126D1762}"/>
          </ac:spMkLst>
        </pc:spChg>
        <pc:spChg chg="add del mod">
          <ac:chgData name="Clark, Connie" userId="73351e60-ad32-4085-a232-1d9f9b189479" providerId="ADAL" clId="{5F87A5E2-C2A2-4F23-BC8C-28F7F5EA6CA7}" dt="2024-03-30T21:14:40.395" v="13960" actId="478"/>
          <ac:spMkLst>
            <pc:docMk/>
            <pc:sldMk cId="2634293534" sldId="2147376816"/>
            <ac:spMk id="59" creationId="{D1BA825B-DEA8-C342-1418-19CA045A7E81}"/>
          </ac:spMkLst>
        </pc:spChg>
        <pc:spChg chg="add del mod">
          <ac:chgData name="Clark, Connie" userId="73351e60-ad32-4085-a232-1d9f9b189479" providerId="ADAL" clId="{5F87A5E2-C2A2-4F23-BC8C-28F7F5EA6CA7}" dt="2024-03-30T21:13:58.261" v="13958" actId="478"/>
          <ac:spMkLst>
            <pc:docMk/>
            <pc:sldMk cId="2634293534" sldId="2147376816"/>
            <ac:spMk id="62" creationId="{ECF7B341-A105-E575-D593-A1E8F4743310}"/>
          </ac:spMkLst>
        </pc:spChg>
        <pc:spChg chg="add del mod">
          <ac:chgData name="Clark, Connie" userId="73351e60-ad32-4085-a232-1d9f9b189479" providerId="ADAL" clId="{5F87A5E2-C2A2-4F23-BC8C-28F7F5EA6CA7}" dt="2024-03-30T21:15:39.869" v="13969" actId="478"/>
          <ac:spMkLst>
            <pc:docMk/>
            <pc:sldMk cId="2634293534" sldId="2147376816"/>
            <ac:spMk id="63" creationId="{6AF69F52-BAFB-E737-7DC7-3482A47B4F2D}"/>
          </ac:spMkLst>
        </pc:spChg>
        <pc:spChg chg="add del mod">
          <ac:chgData name="Clark, Connie" userId="73351e60-ad32-4085-a232-1d9f9b189479" providerId="ADAL" clId="{5F87A5E2-C2A2-4F23-BC8C-28F7F5EA6CA7}" dt="2024-03-30T21:16:47.948" v="13980" actId="478"/>
          <ac:spMkLst>
            <pc:docMk/>
            <pc:sldMk cId="2634293534" sldId="2147376816"/>
            <ac:spMk id="64" creationId="{2C384EFF-CE68-6970-DC7F-9170E5AE7399}"/>
          </ac:spMkLst>
        </pc:spChg>
        <pc:spChg chg="add del mod">
          <ac:chgData name="Clark, Connie" userId="73351e60-ad32-4085-a232-1d9f9b189479" providerId="ADAL" clId="{5F87A5E2-C2A2-4F23-BC8C-28F7F5EA6CA7}" dt="2024-03-30T21:33:08.226" v="14533" actId="478"/>
          <ac:spMkLst>
            <pc:docMk/>
            <pc:sldMk cId="2634293534" sldId="2147376816"/>
            <ac:spMk id="65" creationId="{FB28CB9D-9411-DF8C-FB99-32311D21E524}"/>
          </ac:spMkLst>
        </pc:spChg>
        <pc:spChg chg="add mod">
          <ac:chgData name="Clark, Connie" userId="73351e60-ad32-4085-a232-1d9f9b189479" providerId="ADAL" clId="{5F87A5E2-C2A2-4F23-BC8C-28F7F5EA6CA7}" dt="2024-03-30T21:38:16.664" v="14595" actId="14100"/>
          <ac:spMkLst>
            <pc:docMk/>
            <pc:sldMk cId="2634293534" sldId="2147376816"/>
            <ac:spMk id="66" creationId="{612FF32C-E813-727F-A0A3-63343D1385C2}"/>
          </ac:spMkLst>
        </pc:spChg>
        <pc:spChg chg="add del mod">
          <ac:chgData name="Clark, Connie" userId="73351e60-ad32-4085-a232-1d9f9b189479" providerId="ADAL" clId="{5F87A5E2-C2A2-4F23-BC8C-28F7F5EA6CA7}" dt="2024-03-30T21:33:09.335" v="14534" actId="478"/>
          <ac:spMkLst>
            <pc:docMk/>
            <pc:sldMk cId="2634293534" sldId="2147376816"/>
            <ac:spMk id="67" creationId="{1BA114FE-FE51-0E28-743E-108D519AC0A6}"/>
          </ac:spMkLst>
        </pc:spChg>
        <pc:spChg chg="add del mod">
          <ac:chgData name="Clark, Connie" userId="73351e60-ad32-4085-a232-1d9f9b189479" providerId="ADAL" clId="{5F87A5E2-C2A2-4F23-BC8C-28F7F5EA6CA7}" dt="2024-03-30T22:09:29.028" v="15083" actId="478"/>
          <ac:spMkLst>
            <pc:docMk/>
            <pc:sldMk cId="2634293534" sldId="2147376816"/>
            <ac:spMk id="68" creationId="{92679C26-E2B6-ED70-BA06-1765CFD05982}"/>
          </ac:spMkLst>
        </pc:spChg>
        <pc:spChg chg="add del mod">
          <ac:chgData name="Clark, Connie" userId="73351e60-ad32-4085-a232-1d9f9b189479" providerId="ADAL" clId="{5F87A5E2-C2A2-4F23-BC8C-28F7F5EA6CA7}" dt="2024-03-30T22:47:40.622" v="15505" actId="478"/>
          <ac:spMkLst>
            <pc:docMk/>
            <pc:sldMk cId="2634293534" sldId="2147376816"/>
            <ac:spMk id="70" creationId="{9EAF54DD-A439-08D1-6244-E163818382C9}"/>
          </ac:spMkLst>
        </pc:spChg>
        <pc:spChg chg="add del mod">
          <ac:chgData name="Clark, Connie" userId="73351e60-ad32-4085-a232-1d9f9b189479" providerId="ADAL" clId="{5F87A5E2-C2A2-4F23-BC8C-28F7F5EA6CA7}" dt="2024-03-30T22:07:04.118" v="15064" actId="478"/>
          <ac:spMkLst>
            <pc:docMk/>
            <pc:sldMk cId="2634293534" sldId="2147376816"/>
            <ac:spMk id="73" creationId="{83184F35-B24A-68B6-AD65-5D3320DAB16A}"/>
          </ac:spMkLst>
        </pc:spChg>
        <pc:spChg chg="add del mod">
          <ac:chgData name="Clark, Connie" userId="73351e60-ad32-4085-a232-1d9f9b189479" providerId="ADAL" clId="{5F87A5E2-C2A2-4F23-BC8C-28F7F5EA6CA7}" dt="2024-03-30T21:56:43.599" v="14957" actId="478"/>
          <ac:spMkLst>
            <pc:docMk/>
            <pc:sldMk cId="2634293534" sldId="2147376816"/>
            <ac:spMk id="74" creationId="{CCE197D9-D530-15BB-05F7-DADE52EE09AA}"/>
          </ac:spMkLst>
        </pc:spChg>
        <pc:spChg chg="add del mod">
          <ac:chgData name="Clark, Connie" userId="73351e60-ad32-4085-a232-1d9f9b189479" providerId="ADAL" clId="{5F87A5E2-C2A2-4F23-BC8C-28F7F5EA6CA7}" dt="2024-03-30T21:43:10.118" v="14678" actId="478"/>
          <ac:spMkLst>
            <pc:docMk/>
            <pc:sldMk cId="2634293534" sldId="2147376816"/>
            <ac:spMk id="75" creationId="{8404F64D-3DAD-58F1-BE4F-0220D29C5B38}"/>
          </ac:spMkLst>
        </pc:spChg>
        <pc:spChg chg="add del mod">
          <ac:chgData name="Clark, Connie" userId="73351e60-ad32-4085-a232-1d9f9b189479" providerId="ADAL" clId="{5F87A5E2-C2A2-4F23-BC8C-28F7F5EA6CA7}" dt="2024-03-30T21:43:10.118" v="14678" actId="478"/>
          <ac:spMkLst>
            <pc:docMk/>
            <pc:sldMk cId="2634293534" sldId="2147376816"/>
            <ac:spMk id="76" creationId="{5FEC5A91-CF9D-A32D-1261-2493D92D757B}"/>
          </ac:spMkLst>
        </pc:spChg>
        <pc:spChg chg="add del mod">
          <ac:chgData name="Clark, Connie" userId="73351e60-ad32-4085-a232-1d9f9b189479" providerId="ADAL" clId="{5F87A5E2-C2A2-4F23-BC8C-28F7F5EA6CA7}" dt="2024-03-30T21:43:10.118" v="14678" actId="478"/>
          <ac:spMkLst>
            <pc:docMk/>
            <pc:sldMk cId="2634293534" sldId="2147376816"/>
            <ac:spMk id="77" creationId="{B2096D4D-5CA6-CFB1-BCA7-B247EEE69318}"/>
          </ac:spMkLst>
        </pc:spChg>
        <pc:spChg chg="add del mod">
          <ac:chgData name="Clark, Connie" userId="73351e60-ad32-4085-a232-1d9f9b189479" providerId="ADAL" clId="{5F87A5E2-C2A2-4F23-BC8C-28F7F5EA6CA7}" dt="2024-03-30T21:42:49.065" v="14672"/>
          <ac:spMkLst>
            <pc:docMk/>
            <pc:sldMk cId="2634293534" sldId="2147376816"/>
            <ac:spMk id="78" creationId="{76628441-3123-22BE-E9CC-50DF43EB0235}"/>
          </ac:spMkLst>
        </pc:spChg>
        <pc:spChg chg="add del mod">
          <ac:chgData name="Clark, Connie" userId="73351e60-ad32-4085-a232-1d9f9b189479" providerId="ADAL" clId="{5F87A5E2-C2A2-4F23-BC8C-28F7F5EA6CA7}" dt="2024-03-30T22:48:44.473" v="15524" actId="478"/>
          <ac:spMkLst>
            <pc:docMk/>
            <pc:sldMk cId="2634293534" sldId="2147376816"/>
            <ac:spMk id="79" creationId="{5B2035D8-5DF1-663D-54C0-397E34BAA64B}"/>
          </ac:spMkLst>
        </pc:spChg>
        <pc:spChg chg="add del mod">
          <ac:chgData name="Clark, Connie" userId="73351e60-ad32-4085-a232-1d9f9b189479" providerId="ADAL" clId="{5F87A5E2-C2A2-4F23-BC8C-28F7F5EA6CA7}" dt="2024-03-30T22:48:45.401" v="15525" actId="478"/>
          <ac:spMkLst>
            <pc:docMk/>
            <pc:sldMk cId="2634293534" sldId="2147376816"/>
            <ac:spMk id="80" creationId="{D48BC9E3-6709-D8D9-5FB0-77BE8BD5F867}"/>
          </ac:spMkLst>
        </pc:spChg>
        <pc:spChg chg="add del mod">
          <ac:chgData name="Clark, Connie" userId="73351e60-ad32-4085-a232-1d9f9b189479" providerId="ADAL" clId="{5F87A5E2-C2A2-4F23-BC8C-28F7F5EA6CA7}" dt="2024-03-30T21:47:13.157" v="14798" actId="478"/>
          <ac:spMkLst>
            <pc:docMk/>
            <pc:sldMk cId="2634293534" sldId="2147376816"/>
            <ac:spMk id="81" creationId="{C89E1CA3-2FEB-6CCC-48D3-53015D09FE6E}"/>
          </ac:spMkLst>
        </pc:spChg>
        <pc:spChg chg="add del mod">
          <ac:chgData name="Clark, Connie" userId="73351e60-ad32-4085-a232-1d9f9b189479" providerId="ADAL" clId="{5F87A5E2-C2A2-4F23-BC8C-28F7F5EA6CA7}" dt="2024-03-30T21:47:15.409" v="14799" actId="478"/>
          <ac:spMkLst>
            <pc:docMk/>
            <pc:sldMk cId="2634293534" sldId="2147376816"/>
            <ac:spMk id="82" creationId="{F665C116-94A5-82F5-C504-36D0114BEECF}"/>
          </ac:spMkLst>
        </pc:spChg>
        <pc:spChg chg="add del mod">
          <ac:chgData name="Clark, Connie" userId="73351e60-ad32-4085-a232-1d9f9b189479" providerId="ADAL" clId="{5F87A5E2-C2A2-4F23-BC8C-28F7F5EA6CA7}" dt="2024-03-30T22:23:59.333" v="15217" actId="478"/>
          <ac:spMkLst>
            <pc:docMk/>
            <pc:sldMk cId="2634293534" sldId="2147376816"/>
            <ac:spMk id="83" creationId="{8C1FC7B4-2138-224C-062D-A82B06D2291C}"/>
          </ac:spMkLst>
        </pc:spChg>
        <pc:spChg chg="add del mod">
          <ac:chgData name="Clark, Connie" userId="73351e60-ad32-4085-a232-1d9f9b189479" providerId="ADAL" clId="{5F87A5E2-C2A2-4F23-BC8C-28F7F5EA6CA7}" dt="2024-03-30T22:48:53.274" v="15527" actId="478"/>
          <ac:spMkLst>
            <pc:docMk/>
            <pc:sldMk cId="2634293534" sldId="2147376816"/>
            <ac:spMk id="84" creationId="{1BCBE605-F65D-729C-BB90-526A626CEDBA}"/>
          </ac:spMkLst>
        </pc:spChg>
        <pc:spChg chg="add del mod">
          <ac:chgData name="Clark, Connie" userId="73351e60-ad32-4085-a232-1d9f9b189479" providerId="ADAL" clId="{5F87A5E2-C2A2-4F23-BC8C-28F7F5EA6CA7}" dt="2024-03-30T22:48:53.274" v="15527" actId="478"/>
          <ac:spMkLst>
            <pc:docMk/>
            <pc:sldMk cId="2634293534" sldId="2147376816"/>
            <ac:spMk id="85" creationId="{F89A6908-A0D5-F791-5D96-5FF00182F031}"/>
          </ac:spMkLst>
        </pc:spChg>
        <pc:spChg chg="add del mod">
          <ac:chgData name="Clark, Connie" userId="73351e60-ad32-4085-a232-1d9f9b189479" providerId="ADAL" clId="{5F87A5E2-C2A2-4F23-BC8C-28F7F5EA6CA7}" dt="2024-03-30T22:48:53.274" v="15527" actId="478"/>
          <ac:spMkLst>
            <pc:docMk/>
            <pc:sldMk cId="2634293534" sldId="2147376816"/>
            <ac:spMk id="86" creationId="{3C243166-C468-4F2F-A274-BFDA9C4762CB}"/>
          </ac:spMkLst>
        </pc:spChg>
        <pc:spChg chg="add del mod">
          <ac:chgData name="Clark, Connie" userId="73351e60-ad32-4085-a232-1d9f9b189479" providerId="ADAL" clId="{5F87A5E2-C2A2-4F23-BC8C-28F7F5EA6CA7}" dt="2024-03-30T22:48:53.274" v="15527" actId="478"/>
          <ac:spMkLst>
            <pc:docMk/>
            <pc:sldMk cId="2634293534" sldId="2147376816"/>
            <ac:spMk id="87" creationId="{D8EABBBA-C759-93E7-693F-19BDC90A0A5C}"/>
          </ac:spMkLst>
        </pc:spChg>
        <pc:spChg chg="add mod">
          <ac:chgData name="Clark, Connie" userId="73351e60-ad32-4085-a232-1d9f9b189479" providerId="ADAL" clId="{5F87A5E2-C2A2-4F23-BC8C-28F7F5EA6CA7}" dt="2024-03-30T22:32:41.338" v="15334" actId="14100"/>
          <ac:spMkLst>
            <pc:docMk/>
            <pc:sldMk cId="2634293534" sldId="2147376816"/>
            <ac:spMk id="88" creationId="{09D6B57A-ADEA-2613-4773-22EEE03B4887}"/>
          </ac:spMkLst>
        </pc:spChg>
        <pc:spChg chg="add del mod">
          <ac:chgData name="Clark, Connie" userId="73351e60-ad32-4085-a232-1d9f9b189479" providerId="ADAL" clId="{5F87A5E2-C2A2-4F23-BC8C-28F7F5EA6CA7}" dt="2024-03-30T22:01:40.941" v="15033" actId="478"/>
          <ac:spMkLst>
            <pc:docMk/>
            <pc:sldMk cId="2634293534" sldId="2147376816"/>
            <ac:spMk id="89" creationId="{EA2CFBDE-07FD-31FA-7D0F-53D4A8DFF310}"/>
          </ac:spMkLst>
        </pc:spChg>
        <pc:spChg chg="add del mod">
          <ac:chgData name="Clark, Connie" userId="73351e60-ad32-4085-a232-1d9f9b189479" providerId="ADAL" clId="{5F87A5E2-C2A2-4F23-BC8C-28F7F5EA6CA7}" dt="2024-03-30T21:56:07.717" v="14947" actId="478"/>
          <ac:spMkLst>
            <pc:docMk/>
            <pc:sldMk cId="2634293534" sldId="2147376816"/>
            <ac:spMk id="91" creationId="{0D84E91F-AE5A-2126-23E6-A4BD68E4F0B8}"/>
          </ac:spMkLst>
        </pc:spChg>
        <pc:spChg chg="add del mod">
          <ac:chgData name="Clark, Connie" userId="73351e60-ad32-4085-a232-1d9f9b189479" providerId="ADAL" clId="{5F87A5E2-C2A2-4F23-BC8C-28F7F5EA6CA7}" dt="2024-03-30T22:48:40.583" v="15522" actId="478"/>
          <ac:spMkLst>
            <pc:docMk/>
            <pc:sldMk cId="2634293534" sldId="2147376816"/>
            <ac:spMk id="92" creationId="{97196A89-02F9-B065-0D4A-5F3FC8989EB7}"/>
          </ac:spMkLst>
        </pc:spChg>
        <pc:spChg chg="add del mod">
          <ac:chgData name="Clark, Connie" userId="73351e60-ad32-4085-a232-1d9f9b189479" providerId="ADAL" clId="{5F87A5E2-C2A2-4F23-BC8C-28F7F5EA6CA7}" dt="2024-03-30T22:48:41.752" v="15523" actId="478"/>
          <ac:spMkLst>
            <pc:docMk/>
            <pc:sldMk cId="2634293534" sldId="2147376816"/>
            <ac:spMk id="93" creationId="{C2518C27-15BB-AD7E-E98D-1180D80C4605}"/>
          </ac:spMkLst>
        </pc:spChg>
        <pc:spChg chg="add del mod">
          <ac:chgData name="Clark, Connie" userId="73351e60-ad32-4085-a232-1d9f9b189479" providerId="ADAL" clId="{5F87A5E2-C2A2-4F23-BC8C-28F7F5EA6CA7}" dt="2024-03-30T22:48:47.068" v="15526" actId="478"/>
          <ac:spMkLst>
            <pc:docMk/>
            <pc:sldMk cId="2634293534" sldId="2147376816"/>
            <ac:spMk id="94" creationId="{89AA7F19-E4E5-2525-2EB3-849000283CDF}"/>
          </ac:spMkLst>
        </pc:spChg>
        <pc:spChg chg="add mod">
          <ac:chgData name="Clark, Connie" userId="73351e60-ad32-4085-a232-1d9f9b189479" providerId="ADAL" clId="{5F87A5E2-C2A2-4F23-BC8C-28F7F5EA6CA7}" dt="2024-03-30T22:29:58.338" v="15300" actId="113"/>
          <ac:spMkLst>
            <pc:docMk/>
            <pc:sldMk cId="2634293534" sldId="2147376816"/>
            <ac:spMk id="95" creationId="{83E895AE-79A4-E116-8726-7132AE88BF7D}"/>
          </ac:spMkLst>
        </pc:spChg>
        <pc:spChg chg="add del mod">
          <ac:chgData name="Clark, Connie" userId="73351e60-ad32-4085-a232-1d9f9b189479" providerId="ADAL" clId="{5F87A5E2-C2A2-4F23-BC8C-28F7F5EA6CA7}" dt="2024-03-30T22:22:34.449" v="15210" actId="478"/>
          <ac:spMkLst>
            <pc:docMk/>
            <pc:sldMk cId="2634293534" sldId="2147376816"/>
            <ac:spMk id="96" creationId="{1C13895A-5CB3-5A34-0CCC-1EDEFEF9DD18}"/>
          </ac:spMkLst>
        </pc:spChg>
        <pc:spChg chg="add del mod">
          <ac:chgData name="Clark, Connie" userId="73351e60-ad32-4085-a232-1d9f9b189479" providerId="ADAL" clId="{5F87A5E2-C2A2-4F23-BC8C-28F7F5EA6CA7}" dt="2024-03-30T22:49:05.272" v="15528" actId="478"/>
          <ac:spMkLst>
            <pc:docMk/>
            <pc:sldMk cId="2634293534" sldId="2147376816"/>
            <ac:spMk id="97" creationId="{51A32910-4979-75B3-C25D-AE1B30680C0A}"/>
          </ac:spMkLst>
        </pc:spChg>
        <pc:spChg chg="add mod">
          <ac:chgData name="Clark, Connie" userId="73351e60-ad32-4085-a232-1d9f9b189479" providerId="ADAL" clId="{5F87A5E2-C2A2-4F23-BC8C-28F7F5EA6CA7}" dt="2024-03-30T22:32:53.399" v="15339" actId="1037"/>
          <ac:spMkLst>
            <pc:docMk/>
            <pc:sldMk cId="2634293534" sldId="2147376816"/>
            <ac:spMk id="98" creationId="{1E967938-6E53-2603-C846-5806BA1555A2}"/>
          </ac:spMkLst>
        </pc:spChg>
        <pc:spChg chg="add mod">
          <ac:chgData name="Clark, Connie" userId="73351e60-ad32-4085-a232-1d9f9b189479" providerId="ADAL" clId="{5F87A5E2-C2A2-4F23-BC8C-28F7F5EA6CA7}" dt="2024-03-30T22:31:51.686" v="15327" actId="1076"/>
          <ac:spMkLst>
            <pc:docMk/>
            <pc:sldMk cId="2634293534" sldId="2147376816"/>
            <ac:spMk id="99" creationId="{0B76EEEA-CD0A-349A-8E65-ABB8A663A8B4}"/>
          </ac:spMkLst>
        </pc:spChg>
        <pc:graphicFrameChg chg="add del mod modGraphic">
          <ac:chgData name="Clark, Connie" userId="73351e60-ad32-4085-a232-1d9f9b189479" providerId="ADAL" clId="{5F87A5E2-C2A2-4F23-BC8C-28F7F5EA6CA7}" dt="2024-03-30T21:15:49.588" v="13975" actId="478"/>
          <ac:graphicFrameMkLst>
            <pc:docMk/>
            <pc:sldMk cId="2634293534" sldId="2147376816"/>
            <ac:graphicFrameMk id="49" creationId="{A78EE5E1-2640-1D25-2136-422BC68E8542}"/>
          </ac:graphicFrameMkLst>
        </pc:graphicFrameChg>
        <pc:picChg chg="add del mod">
          <ac:chgData name="Clark, Connie" userId="73351e60-ad32-4085-a232-1d9f9b189479" providerId="ADAL" clId="{5F87A5E2-C2A2-4F23-BC8C-28F7F5EA6CA7}" dt="2024-03-30T20:26:29.018" v="13694"/>
          <ac:picMkLst>
            <pc:docMk/>
            <pc:sldMk cId="2634293534" sldId="2147376816"/>
            <ac:picMk id="5" creationId="{EB8CB62D-5131-1C39-736A-97993DC31509}"/>
          </ac:picMkLst>
        </pc:picChg>
        <pc:picChg chg="add del mod">
          <ac:chgData name="Clark, Connie" userId="73351e60-ad32-4085-a232-1d9f9b189479" providerId="ADAL" clId="{5F87A5E2-C2A2-4F23-BC8C-28F7F5EA6CA7}" dt="2024-03-30T20:26:29.018" v="13694"/>
          <ac:picMkLst>
            <pc:docMk/>
            <pc:sldMk cId="2634293534" sldId="2147376816"/>
            <ac:picMk id="8" creationId="{1EFCE8B5-DB5B-1FD0-0815-E023488E3F06}"/>
          </ac:picMkLst>
        </pc:picChg>
        <pc:picChg chg="add del mod">
          <ac:chgData name="Clark, Connie" userId="73351e60-ad32-4085-a232-1d9f9b189479" providerId="ADAL" clId="{5F87A5E2-C2A2-4F23-BC8C-28F7F5EA6CA7}" dt="2024-03-30T20:26:29.018" v="13694"/>
          <ac:picMkLst>
            <pc:docMk/>
            <pc:sldMk cId="2634293534" sldId="2147376816"/>
            <ac:picMk id="10" creationId="{58AF0252-FF32-665A-61A5-D5266FA29E87}"/>
          </ac:picMkLst>
        </pc:picChg>
        <pc:picChg chg="add del mod">
          <ac:chgData name="Clark, Connie" userId="73351e60-ad32-4085-a232-1d9f9b189479" providerId="ADAL" clId="{5F87A5E2-C2A2-4F23-BC8C-28F7F5EA6CA7}" dt="2024-03-30T21:15:39.869" v="13969" actId="478"/>
          <ac:picMkLst>
            <pc:docMk/>
            <pc:sldMk cId="2634293534" sldId="2147376816"/>
            <ac:picMk id="23" creationId="{444FAAF4-CFE2-7158-7862-FB36AEAEC1EA}"/>
          </ac:picMkLst>
        </pc:picChg>
        <pc:picChg chg="add del mod">
          <ac:chgData name="Clark, Connie" userId="73351e60-ad32-4085-a232-1d9f9b189479" providerId="ADAL" clId="{5F87A5E2-C2A2-4F23-BC8C-28F7F5EA6CA7}" dt="2024-03-30T22:36:10.902" v="15365" actId="478"/>
          <ac:picMkLst>
            <pc:docMk/>
            <pc:sldMk cId="2634293534" sldId="2147376816"/>
            <ac:picMk id="25" creationId="{1DBB8212-2879-0B96-087A-505D270E4423}"/>
          </ac:picMkLst>
        </pc:picChg>
        <pc:picChg chg="add del mod">
          <ac:chgData name="Clark, Connie" userId="73351e60-ad32-4085-a232-1d9f9b189479" providerId="ADAL" clId="{5F87A5E2-C2A2-4F23-BC8C-28F7F5EA6CA7}" dt="2024-03-30T21:15:39.869" v="13969" actId="478"/>
          <ac:picMkLst>
            <pc:docMk/>
            <pc:sldMk cId="2634293534" sldId="2147376816"/>
            <ac:picMk id="26" creationId="{1CFD4D83-795F-75A7-DE79-09842A301CDD}"/>
          </ac:picMkLst>
        </pc:picChg>
        <pc:picChg chg="add del mod">
          <ac:chgData name="Clark, Connie" userId="73351e60-ad32-4085-a232-1d9f9b189479" providerId="ADAL" clId="{5F87A5E2-C2A2-4F23-BC8C-28F7F5EA6CA7}" dt="2024-03-30T20:57:33.119" v="13897" actId="478"/>
          <ac:picMkLst>
            <pc:docMk/>
            <pc:sldMk cId="2634293534" sldId="2147376816"/>
            <ac:picMk id="39" creationId="{9D0A5C82-4064-3F5B-8A1F-DC14087C35F6}"/>
          </ac:picMkLst>
        </pc:picChg>
        <pc:picChg chg="add del mod">
          <ac:chgData name="Clark, Connie" userId="73351e60-ad32-4085-a232-1d9f9b189479" providerId="ADAL" clId="{5F87A5E2-C2A2-4F23-BC8C-28F7F5EA6CA7}" dt="2024-03-30T20:57:32.064" v="13896" actId="478"/>
          <ac:picMkLst>
            <pc:docMk/>
            <pc:sldMk cId="2634293534" sldId="2147376816"/>
            <ac:picMk id="42" creationId="{FE4E53CA-098E-64B5-CFA9-0AD03C3DBA1E}"/>
          </ac:picMkLst>
        </pc:picChg>
        <pc:picChg chg="add del mod">
          <ac:chgData name="Clark, Connie" userId="73351e60-ad32-4085-a232-1d9f9b189479" providerId="ADAL" clId="{5F87A5E2-C2A2-4F23-BC8C-28F7F5EA6CA7}" dt="2024-03-30T21:02:06.031" v="13899" actId="478"/>
          <ac:picMkLst>
            <pc:docMk/>
            <pc:sldMk cId="2634293534" sldId="2147376816"/>
            <ac:picMk id="45" creationId="{06CBE760-201A-804F-2408-667A6E26EF9F}"/>
          </ac:picMkLst>
        </pc:picChg>
        <pc:picChg chg="add del mod">
          <ac:chgData name="Clark, Connie" userId="73351e60-ad32-4085-a232-1d9f9b189479" providerId="ADAL" clId="{5F87A5E2-C2A2-4F23-BC8C-28F7F5EA6CA7}" dt="2024-03-30T21:15:39.869" v="13969" actId="478"/>
          <ac:picMkLst>
            <pc:docMk/>
            <pc:sldMk cId="2634293534" sldId="2147376816"/>
            <ac:picMk id="48" creationId="{405D880C-114E-6A8A-97BE-7C01621F2BBD}"/>
          </ac:picMkLst>
        </pc:picChg>
        <pc:picChg chg="add del mod">
          <ac:chgData name="Clark, Connie" userId="73351e60-ad32-4085-a232-1d9f9b189479" providerId="ADAL" clId="{5F87A5E2-C2A2-4F23-BC8C-28F7F5EA6CA7}" dt="2024-03-30T21:07:36.996" v="13914" actId="478"/>
          <ac:picMkLst>
            <pc:docMk/>
            <pc:sldMk cId="2634293534" sldId="2147376816"/>
            <ac:picMk id="52" creationId="{8374695C-35BD-C1A0-F81C-97AFD341031B}"/>
          </ac:picMkLst>
        </pc:picChg>
        <pc:picChg chg="add del mod">
          <ac:chgData name="Clark, Connie" userId="73351e60-ad32-4085-a232-1d9f9b189479" providerId="ADAL" clId="{5F87A5E2-C2A2-4F23-BC8C-28F7F5EA6CA7}" dt="2024-03-30T21:09:03.903" v="13916" actId="478"/>
          <ac:picMkLst>
            <pc:docMk/>
            <pc:sldMk cId="2634293534" sldId="2147376816"/>
            <ac:picMk id="55" creationId="{07CA9892-9FD8-64BD-49F6-E96FC44ECC68}"/>
          </ac:picMkLst>
        </pc:picChg>
        <pc:picChg chg="add del mod">
          <ac:chgData name="Clark, Connie" userId="73351e60-ad32-4085-a232-1d9f9b189479" providerId="ADAL" clId="{5F87A5E2-C2A2-4F23-BC8C-28F7F5EA6CA7}" dt="2024-03-30T21:14:40.395" v="13960" actId="478"/>
          <ac:picMkLst>
            <pc:docMk/>
            <pc:sldMk cId="2634293534" sldId="2147376816"/>
            <ac:picMk id="58" creationId="{DD146EA7-7508-CB8A-7538-6B601E40A629}"/>
          </ac:picMkLst>
        </pc:picChg>
        <pc:picChg chg="add del mod">
          <ac:chgData name="Clark, Connie" userId="73351e60-ad32-4085-a232-1d9f9b189479" providerId="ADAL" clId="{5F87A5E2-C2A2-4F23-BC8C-28F7F5EA6CA7}" dt="2024-03-30T21:13:58.261" v="13958" actId="478"/>
          <ac:picMkLst>
            <pc:docMk/>
            <pc:sldMk cId="2634293534" sldId="2147376816"/>
            <ac:picMk id="61" creationId="{CC91B498-66AB-7C2F-56E4-36C4297E9441}"/>
          </ac:picMkLst>
        </pc:picChg>
        <pc:picChg chg="add del mod">
          <ac:chgData name="Clark, Connie" userId="73351e60-ad32-4085-a232-1d9f9b189479" providerId="ADAL" clId="{5F87A5E2-C2A2-4F23-BC8C-28F7F5EA6CA7}" dt="2024-03-30T22:35:31.162" v="15362" actId="1076"/>
          <ac:picMkLst>
            <pc:docMk/>
            <pc:sldMk cId="2634293534" sldId="2147376816"/>
            <ac:picMk id="72" creationId="{5B6B67DC-4F14-EFCC-3CF9-CC7CBD07C692}"/>
          </ac:picMkLst>
        </pc:picChg>
      </pc:sldChg>
      <pc:sldChg chg="modSp add del mod">
        <pc:chgData name="Clark, Connie" userId="73351e60-ad32-4085-a232-1d9f9b189479" providerId="ADAL" clId="{5F87A5E2-C2A2-4F23-BC8C-28F7F5EA6CA7}" dt="2024-03-31T05:26:28.642" v="21513" actId="47"/>
        <pc:sldMkLst>
          <pc:docMk/>
          <pc:sldMk cId="1332310102" sldId="2147376817"/>
        </pc:sldMkLst>
        <pc:picChg chg="mod">
          <ac:chgData name="Clark, Connie" userId="73351e60-ad32-4085-a232-1d9f9b189479" providerId="ADAL" clId="{5F87A5E2-C2A2-4F23-BC8C-28F7F5EA6CA7}" dt="2024-03-30T21:16:34.449" v="13978" actId="1076"/>
          <ac:picMkLst>
            <pc:docMk/>
            <pc:sldMk cId="1332310102" sldId="2147376817"/>
            <ac:picMk id="25" creationId="{1DBB8212-2879-0B96-087A-505D270E4423}"/>
          </ac:picMkLst>
        </pc:picChg>
      </pc:sldChg>
      <pc:sldChg chg="addSp delSp modSp add del mod">
        <pc:chgData name="Clark, Connie" userId="73351e60-ad32-4085-a232-1d9f9b189479" providerId="ADAL" clId="{5F87A5E2-C2A2-4F23-BC8C-28F7F5EA6CA7}" dt="2024-03-30T22:47:34.165" v="15504" actId="47"/>
        <pc:sldMkLst>
          <pc:docMk/>
          <pc:sldMk cId="1688549066" sldId="2147376818"/>
        </pc:sldMkLst>
        <pc:spChg chg="add mod">
          <ac:chgData name="Clark, Connie" userId="73351e60-ad32-4085-a232-1d9f9b189479" providerId="ADAL" clId="{5F87A5E2-C2A2-4F23-BC8C-28F7F5EA6CA7}" dt="2024-03-30T22:21:14.119" v="15201" actId="1076"/>
          <ac:spMkLst>
            <pc:docMk/>
            <pc:sldMk cId="1688549066" sldId="2147376818"/>
            <ac:spMk id="2" creationId="{A56D1370-3C5F-5465-70C4-B11A404208E4}"/>
          </ac:spMkLst>
        </pc:spChg>
        <pc:spChg chg="del">
          <ac:chgData name="Clark, Connie" userId="73351e60-ad32-4085-a232-1d9f9b189479" providerId="ADAL" clId="{5F87A5E2-C2A2-4F23-BC8C-28F7F5EA6CA7}" dt="2024-03-30T22:09:02.684" v="15080" actId="478"/>
          <ac:spMkLst>
            <pc:docMk/>
            <pc:sldMk cId="1688549066" sldId="2147376818"/>
            <ac:spMk id="68" creationId="{92679C26-E2B6-ED70-BA06-1765CFD05982}"/>
          </ac:spMkLst>
        </pc:spChg>
        <pc:spChg chg="del">
          <ac:chgData name="Clark, Connie" userId="73351e60-ad32-4085-a232-1d9f9b189479" providerId="ADAL" clId="{5F87A5E2-C2A2-4F23-BC8C-28F7F5EA6CA7}" dt="2024-03-30T22:08:59.598" v="15079" actId="478"/>
          <ac:spMkLst>
            <pc:docMk/>
            <pc:sldMk cId="1688549066" sldId="2147376818"/>
            <ac:spMk id="73" creationId="{83184F35-B24A-68B6-AD65-5D3320DAB16A}"/>
          </ac:spMkLst>
        </pc:spChg>
        <pc:spChg chg="mod">
          <ac:chgData name="Clark, Connie" userId="73351e60-ad32-4085-a232-1d9f9b189479" providerId="ADAL" clId="{5F87A5E2-C2A2-4F23-BC8C-28F7F5EA6CA7}" dt="2024-03-30T22:03:01.972" v="15036" actId="1076"/>
          <ac:spMkLst>
            <pc:docMk/>
            <pc:sldMk cId="1688549066" sldId="2147376818"/>
            <ac:spMk id="79" creationId="{5B2035D8-5DF1-663D-54C0-397E34BAA64B}"/>
          </ac:spMkLst>
        </pc:spChg>
        <pc:spChg chg="mod">
          <ac:chgData name="Clark, Connie" userId="73351e60-ad32-4085-a232-1d9f9b189479" providerId="ADAL" clId="{5F87A5E2-C2A2-4F23-BC8C-28F7F5EA6CA7}" dt="2024-03-30T22:03:01.972" v="15036" actId="1076"/>
          <ac:spMkLst>
            <pc:docMk/>
            <pc:sldMk cId="1688549066" sldId="2147376818"/>
            <ac:spMk id="80" creationId="{D48BC9E3-6709-D8D9-5FB0-77BE8BD5F867}"/>
          </ac:spMkLst>
        </pc:spChg>
        <pc:spChg chg="mod">
          <ac:chgData name="Clark, Connie" userId="73351e60-ad32-4085-a232-1d9f9b189479" providerId="ADAL" clId="{5F87A5E2-C2A2-4F23-BC8C-28F7F5EA6CA7}" dt="2024-03-30T22:03:01.972" v="15036" actId="1076"/>
          <ac:spMkLst>
            <pc:docMk/>
            <pc:sldMk cId="1688549066" sldId="2147376818"/>
            <ac:spMk id="84" creationId="{1BCBE605-F65D-729C-BB90-526A626CEDBA}"/>
          </ac:spMkLst>
        </pc:spChg>
        <pc:spChg chg="mod">
          <ac:chgData name="Clark, Connie" userId="73351e60-ad32-4085-a232-1d9f9b189479" providerId="ADAL" clId="{5F87A5E2-C2A2-4F23-BC8C-28F7F5EA6CA7}" dt="2024-03-30T22:03:01.972" v="15036" actId="1076"/>
          <ac:spMkLst>
            <pc:docMk/>
            <pc:sldMk cId="1688549066" sldId="2147376818"/>
            <ac:spMk id="85" creationId="{F89A6908-A0D5-F791-5D96-5FF00182F031}"/>
          </ac:spMkLst>
        </pc:spChg>
        <pc:spChg chg="mod">
          <ac:chgData name="Clark, Connie" userId="73351e60-ad32-4085-a232-1d9f9b189479" providerId="ADAL" clId="{5F87A5E2-C2A2-4F23-BC8C-28F7F5EA6CA7}" dt="2024-03-30T22:03:01.972" v="15036" actId="1076"/>
          <ac:spMkLst>
            <pc:docMk/>
            <pc:sldMk cId="1688549066" sldId="2147376818"/>
            <ac:spMk id="86" creationId="{3C243166-C468-4F2F-A274-BFDA9C4762CB}"/>
          </ac:spMkLst>
        </pc:spChg>
        <pc:spChg chg="mod">
          <ac:chgData name="Clark, Connie" userId="73351e60-ad32-4085-a232-1d9f9b189479" providerId="ADAL" clId="{5F87A5E2-C2A2-4F23-BC8C-28F7F5EA6CA7}" dt="2024-03-30T22:03:01.972" v="15036" actId="1076"/>
          <ac:spMkLst>
            <pc:docMk/>
            <pc:sldMk cId="1688549066" sldId="2147376818"/>
            <ac:spMk id="87" creationId="{D8EABBBA-C759-93E7-693F-19BDC90A0A5C}"/>
          </ac:spMkLst>
        </pc:spChg>
        <pc:picChg chg="del">
          <ac:chgData name="Clark, Connie" userId="73351e60-ad32-4085-a232-1d9f9b189479" providerId="ADAL" clId="{5F87A5E2-C2A2-4F23-BC8C-28F7F5EA6CA7}" dt="2024-03-30T22:17:33.392" v="15200" actId="478"/>
          <ac:picMkLst>
            <pc:docMk/>
            <pc:sldMk cId="1688549066" sldId="2147376818"/>
            <ac:picMk id="25" creationId="{1DBB8212-2879-0B96-087A-505D270E4423}"/>
          </ac:picMkLst>
        </pc:picChg>
      </pc:sldChg>
      <pc:sldChg chg="addSp delSp modSp add del mod">
        <pc:chgData name="Clark, Connie" userId="73351e60-ad32-4085-a232-1d9f9b189479" providerId="ADAL" clId="{5F87A5E2-C2A2-4F23-BC8C-28F7F5EA6CA7}" dt="2024-03-30T22:45:09.228" v="15466" actId="47"/>
        <pc:sldMkLst>
          <pc:docMk/>
          <pc:sldMk cId="2550019648" sldId="2147376819"/>
        </pc:sldMkLst>
        <pc:spChg chg="add mod">
          <ac:chgData name="Clark, Connie" userId="73351e60-ad32-4085-a232-1d9f9b189479" providerId="ADAL" clId="{5F87A5E2-C2A2-4F23-BC8C-28F7F5EA6CA7}" dt="2024-03-30T22:40:35.878" v="15417" actId="1076"/>
          <ac:spMkLst>
            <pc:docMk/>
            <pc:sldMk cId="2550019648" sldId="2147376819"/>
            <ac:spMk id="2" creationId="{8CE769CF-5C14-1875-6FC1-EC1B0EABB6AF}"/>
          </ac:spMkLst>
        </pc:spChg>
        <pc:spChg chg="add mod">
          <ac:chgData name="Clark, Connie" userId="73351e60-ad32-4085-a232-1d9f9b189479" providerId="ADAL" clId="{5F87A5E2-C2A2-4F23-BC8C-28F7F5EA6CA7}" dt="2024-03-30T22:41:29.804" v="15430" actId="20577"/>
          <ac:spMkLst>
            <pc:docMk/>
            <pc:sldMk cId="2550019648" sldId="2147376819"/>
            <ac:spMk id="3" creationId="{93B9CD98-A731-1B5B-45CF-C804866B4E6F}"/>
          </ac:spMkLst>
        </pc:spChg>
        <pc:spChg chg="add mod">
          <ac:chgData name="Clark, Connie" userId="73351e60-ad32-4085-a232-1d9f9b189479" providerId="ADAL" clId="{5F87A5E2-C2A2-4F23-BC8C-28F7F5EA6CA7}" dt="2024-03-30T22:42:22.433" v="15434" actId="1076"/>
          <ac:spMkLst>
            <pc:docMk/>
            <pc:sldMk cId="2550019648" sldId="2147376819"/>
            <ac:spMk id="5" creationId="{DFB1C958-AC70-1D95-2C83-CA1999A77D3D}"/>
          </ac:spMkLst>
        </pc:spChg>
        <pc:spChg chg="add mod">
          <ac:chgData name="Clark, Connie" userId="73351e60-ad32-4085-a232-1d9f9b189479" providerId="ADAL" clId="{5F87A5E2-C2A2-4F23-BC8C-28F7F5EA6CA7}" dt="2024-03-30T22:42:22.433" v="15434" actId="1076"/>
          <ac:spMkLst>
            <pc:docMk/>
            <pc:sldMk cId="2550019648" sldId="2147376819"/>
            <ac:spMk id="6" creationId="{24D27548-CEB9-28E8-01C0-D7127AD6FE22}"/>
          </ac:spMkLst>
        </pc:spChg>
        <pc:spChg chg="mod">
          <ac:chgData name="Clark, Connie" userId="73351e60-ad32-4085-a232-1d9f9b189479" providerId="ADAL" clId="{5F87A5E2-C2A2-4F23-BC8C-28F7F5EA6CA7}" dt="2024-03-30T22:37:07.087" v="15367" actId="1076"/>
          <ac:spMkLst>
            <pc:docMk/>
            <pc:sldMk cId="2550019648" sldId="2147376819"/>
            <ac:spMk id="70" creationId="{9EAF54DD-A439-08D1-6244-E163818382C9}"/>
          </ac:spMkLst>
        </pc:spChg>
        <pc:spChg chg="del mod">
          <ac:chgData name="Clark, Connie" userId="73351e60-ad32-4085-a232-1d9f9b189479" providerId="ADAL" clId="{5F87A5E2-C2A2-4F23-BC8C-28F7F5EA6CA7}" dt="2024-03-30T22:40:08.035" v="15414" actId="478"/>
          <ac:spMkLst>
            <pc:docMk/>
            <pc:sldMk cId="2550019648" sldId="2147376819"/>
            <ac:spMk id="79" creationId="{5B2035D8-5DF1-663D-54C0-397E34BAA64B}"/>
          </ac:spMkLst>
        </pc:spChg>
        <pc:spChg chg="mod">
          <ac:chgData name="Clark, Connie" userId="73351e60-ad32-4085-a232-1d9f9b189479" providerId="ADAL" clId="{5F87A5E2-C2A2-4F23-BC8C-28F7F5EA6CA7}" dt="2024-03-30T22:39:49.800" v="15410" actId="1076"/>
          <ac:spMkLst>
            <pc:docMk/>
            <pc:sldMk cId="2550019648" sldId="2147376819"/>
            <ac:spMk id="80" creationId="{D48BC9E3-6709-D8D9-5FB0-77BE8BD5F867}"/>
          </ac:spMkLst>
        </pc:spChg>
        <pc:spChg chg="del mod">
          <ac:chgData name="Clark, Connie" userId="73351e60-ad32-4085-a232-1d9f9b189479" providerId="ADAL" clId="{5F87A5E2-C2A2-4F23-BC8C-28F7F5EA6CA7}" dt="2024-03-30T22:40:09.427" v="15415" actId="478"/>
          <ac:spMkLst>
            <pc:docMk/>
            <pc:sldMk cId="2550019648" sldId="2147376819"/>
            <ac:spMk id="84" creationId="{1BCBE605-F65D-729C-BB90-526A626CEDBA}"/>
          </ac:spMkLst>
        </pc:spChg>
        <pc:spChg chg="mod">
          <ac:chgData name="Clark, Connie" userId="73351e60-ad32-4085-a232-1d9f9b189479" providerId="ADAL" clId="{5F87A5E2-C2A2-4F23-BC8C-28F7F5EA6CA7}" dt="2024-03-30T22:39:49.800" v="15410" actId="1076"/>
          <ac:spMkLst>
            <pc:docMk/>
            <pc:sldMk cId="2550019648" sldId="2147376819"/>
            <ac:spMk id="85" creationId="{F89A6908-A0D5-F791-5D96-5FF00182F031}"/>
          </ac:spMkLst>
        </pc:spChg>
        <pc:spChg chg="mod">
          <ac:chgData name="Clark, Connie" userId="73351e60-ad32-4085-a232-1d9f9b189479" providerId="ADAL" clId="{5F87A5E2-C2A2-4F23-BC8C-28F7F5EA6CA7}" dt="2024-03-30T22:40:40.205" v="15418" actId="14100"/>
          <ac:spMkLst>
            <pc:docMk/>
            <pc:sldMk cId="2550019648" sldId="2147376819"/>
            <ac:spMk id="86" creationId="{3C243166-C468-4F2F-A274-BFDA9C4762CB}"/>
          </ac:spMkLst>
        </pc:spChg>
        <pc:spChg chg="mod">
          <ac:chgData name="Clark, Connie" userId="73351e60-ad32-4085-a232-1d9f9b189479" providerId="ADAL" clId="{5F87A5E2-C2A2-4F23-BC8C-28F7F5EA6CA7}" dt="2024-03-30T22:39:49.800" v="15410" actId="1076"/>
          <ac:spMkLst>
            <pc:docMk/>
            <pc:sldMk cId="2550019648" sldId="2147376819"/>
            <ac:spMk id="87" creationId="{D8EABBBA-C759-93E7-693F-19BDC90A0A5C}"/>
          </ac:spMkLst>
        </pc:spChg>
        <pc:spChg chg="add del mod">
          <ac:chgData name="Clark, Connie" userId="73351e60-ad32-4085-a232-1d9f9b189479" providerId="ADAL" clId="{5F87A5E2-C2A2-4F23-BC8C-28F7F5EA6CA7}" dt="2024-03-30T22:40:35.878" v="15417" actId="1076"/>
          <ac:spMkLst>
            <pc:docMk/>
            <pc:sldMk cId="2550019648" sldId="2147376819"/>
            <ac:spMk id="88" creationId="{09D6B57A-ADEA-2613-4773-22EEE03B4887}"/>
          </ac:spMkLst>
        </pc:spChg>
        <pc:spChg chg="mod">
          <ac:chgData name="Clark, Connie" userId="73351e60-ad32-4085-a232-1d9f9b189479" providerId="ADAL" clId="{5F87A5E2-C2A2-4F23-BC8C-28F7F5EA6CA7}" dt="2024-03-30T22:40:04.390" v="15413" actId="14100"/>
          <ac:spMkLst>
            <pc:docMk/>
            <pc:sldMk cId="2550019648" sldId="2147376819"/>
            <ac:spMk id="92" creationId="{97196A89-02F9-B065-0D4A-5F3FC8989EB7}"/>
          </ac:spMkLst>
        </pc:spChg>
        <pc:spChg chg="mod">
          <ac:chgData name="Clark, Connie" userId="73351e60-ad32-4085-a232-1d9f9b189479" providerId="ADAL" clId="{5F87A5E2-C2A2-4F23-BC8C-28F7F5EA6CA7}" dt="2024-03-30T22:40:00.319" v="15412" actId="14100"/>
          <ac:spMkLst>
            <pc:docMk/>
            <pc:sldMk cId="2550019648" sldId="2147376819"/>
            <ac:spMk id="93" creationId="{C2518C27-15BB-AD7E-E98D-1180D80C4605}"/>
          </ac:spMkLst>
        </pc:spChg>
        <pc:spChg chg="mod">
          <ac:chgData name="Clark, Connie" userId="73351e60-ad32-4085-a232-1d9f9b189479" providerId="ADAL" clId="{5F87A5E2-C2A2-4F23-BC8C-28F7F5EA6CA7}" dt="2024-03-30T22:39:53.509" v="15411" actId="14100"/>
          <ac:spMkLst>
            <pc:docMk/>
            <pc:sldMk cId="2550019648" sldId="2147376819"/>
            <ac:spMk id="94" creationId="{89AA7F19-E4E5-2525-2EB3-849000283CDF}"/>
          </ac:spMkLst>
        </pc:spChg>
        <pc:spChg chg="mod">
          <ac:chgData name="Clark, Connie" userId="73351e60-ad32-4085-a232-1d9f9b189479" providerId="ADAL" clId="{5F87A5E2-C2A2-4F23-BC8C-28F7F5EA6CA7}" dt="2024-03-30T22:40:49.819" v="15419" actId="14100"/>
          <ac:spMkLst>
            <pc:docMk/>
            <pc:sldMk cId="2550019648" sldId="2147376819"/>
            <ac:spMk id="95" creationId="{83E895AE-79A4-E116-8726-7132AE88BF7D}"/>
          </ac:spMkLst>
        </pc:spChg>
        <pc:spChg chg="del mod">
          <ac:chgData name="Clark, Connie" userId="73351e60-ad32-4085-a232-1d9f9b189479" providerId="ADAL" clId="{5F87A5E2-C2A2-4F23-BC8C-28F7F5EA6CA7}" dt="2024-03-30T22:39:33.781" v="15408" actId="478"/>
          <ac:spMkLst>
            <pc:docMk/>
            <pc:sldMk cId="2550019648" sldId="2147376819"/>
            <ac:spMk id="97" creationId="{51A32910-4979-75B3-C25D-AE1B30680C0A}"/>
          </ac:spMkLst>
        </pc:spChg>
        <pc:spChg chg="mod">
          <ac:chgData name="Clark, Connie" userId="73351e60-ad32-4085-a232-1d9f9b189479" providerId="ADAL" clId="{5F87A5E2-C2A2-4F23-BC8C-28F7F5EA6CA7}" dt="2024-03-30T22:41:12.493" v="15424" actId="1036"/>
          <ac:spMkLst>
            <pc:docMk/>
            <pc:sldMk cId="2550019648" sldId="2147376819"/>
            <ac:spMk id="98" creationId="{1E967938-6E53-2603-C846-5806BA1555A2}"/>
          </ac:spMkLst>
        </pc:spChg>
        <pc:spChg chg="del mod">
          <ac:chgData name="Clark, Connie" userId="73351e60-ad32-4085-a232-1d9f9b189479" providerId="ADAL" clId="{5F87A5E2-C2A2-4F23-BC8C-28F7F5EA6CA7}" dt="2024-03-30T22:40:59.125" v="15421" actId="478"/>
          <ac:spMkLst>
            <pc:docMk/>
            <pc:sldMk cId="2550019648" sldId="2147376819"/>
            <ac:spMk id="99" creationId="{0B76EEEA-CD0A-349A-8E65-ABB8A663A8B4}"/>
          </ac:spMkLst>
        </pc:spChg>
      </pc:sldChg>
      <pc:sldChg chg="addSp delSp modSp add del mod">
        <pc:chgData name="Clark, Connie" userId="73351e60-ad32-4085-a232-1d9f9b189479" providerId="ADAL" clId="{5F87A5E2-C2A2-4F23-BC8C-28F7F5EA6CA7}" dt="2024-05-24T00:09:13.161" v="31035" actId="2696"/>
        <pc:sldMkLst>
          <pc:docMk/>
          <pc:sldMk cId="1781375876" sldId="2147376820"/>
        </pc:sldMkLst>
        <pc:spChg chg="add del mod">
          <ac:chgData name="Clark, Connie" userId="73351e60-ad32-4085-a232-1d9f9b189479" providerId="ADAL" clId="{5F87A5E2-C2A2-4F23-BC8C-28F7F5EA6CA7}" dt="2024-03-31T02:02:57.208" v="17932" actId="478"/>
          <ac:spMkLst>
            <pc:docMk/>
            <pc:sldMk cId="1781375876" sldId="2147376820"/>
            <ac:spMk id="2" creationId="{0BC9B963-1A84-3CB3-2E94-7B61F5401179}"/>
          </ac:spMkLst>
        </pc:spChg>
        <pc:spChg chg="del">
          <ac:chgData name="Clark, Connie" userId="73351e60-ad32-4085-a232-1d9f9b189479" providerId="ADAL" clId="{5F87A5E2-C2A2-4F23-BC8C-28F7F5EA6CA7}" dt="2024-03-30T22:43:10.365" v="15438" actId="478"/>
          <ac:spMkLst>
            <pc:docMk/>
            <pc:sldMk cId="1781375876" sldId="2147376820"/>
            <ac:spMk id="2" creationId="{8CE769CF-5C14-1875-6FC1-EC1B0EABB6AF}"/>
          </ac:spMkLst>
        </pc:spChg>
        <pc:spChg chg="del">
          <ac:chgData name="Clark, Connie" userId="73351e60-ad32-4085-a232-1d9f9b189479" providerId="ADAL" clId="{5F87A5E2-C2A2-4F23-BC8C-28F7F5EA6CA7}" dt="2024-03-30T22:43:10.365" v="15438" actId="478"/>
          <ac:spMkLst>
            <pc:docMk/>
            <pc:sldMk cId="1781375876" sldId="2147376820"/>
            <ac:spMk id="3" creationId="{93B9CD98-A731-1B5B-45CF-C804866B4E6F}"/>
          </ac:spMkLst>
        </pc:spChg>
        <pc:spChg chg="add del mod">
          <ac:chgData name="Clark, Connie" userId="73351e60-ad32-4085-a232-1d9f9b189479" providerId="ADAL" clId="{5F87A5E2-C2A2-4F23-BC8C-28F7F5EA6CA7}" dt="2024-03-31T02:03:01.065" v="17936" actId="478"/>
          <ac:spMkLst>
            <pc:docMk/>
            <pc:sldMk cId="1781375876" sldId="2147376820"/>
            <ac:spMk id="3" creationId="{AF89F15E-020E-4CC2-5F66-930BD0B9D572}"/>
          </ac:spMkLst>
        </pc:spChg>
        <pc:spChg chg="del mod">
          <ac:chgData name="Clark, Connie" userId="73351e60-ad32-4085-a232-1d9f9b189479" providerId="ADAL" clId="{5F87A5E2-C2A2-4F23-BC8C-28F7F5EA6CA7}" dt="2024-03-30T22:46:34.776" v="15483" actId="478"/>
          <ac:spMkLst>
            <pc:docMk/>
            <pc:sldMk cId="1781375876" sldId="2147376820"/>
            <ac:spMk id="4" creationId="{7E78FA78-ABD1-E962-7429-A8D1FDE37E9F}"/>
          </ac:spMkLst>
        </pc:spChg>
        <pc:spChg chg="add del mod">
          <ac:chgData name="Clark, Connie" userId="73351e60-ad32-4085-a232-1d9f9b189479" providerId="ADAL" clId="{5F87A5E2-C2A2-4F23-BC8C-28F7F5EA6CA7}" dt="2024-03-31T02:02:59.919" v="17934" actId="478"/>
          <ac:spMkLst>
            <pc:docMk/>
            <pc:sldMk cId="1781375876" sldId="2147376820"/>
            <ac:spMk id="4" creationId="{ABA2FDBB-066D-93BD-1EC3-EFD1BF03742F}"/>
          </ac:spMkLst>
        </pc:spChg>
        <pc:spChg chg="add mod">
          <ac:chgData name="Clark, Connie" userId="73351e60-ad32-4085-a232-1d9f9b189479" providerId="ADAL" clId="{5F87A5E2-C2A2-4F23-BC8C-28F7F5EA6CA7}" dt="2024-03-31T02:03:02.488" v="17937"/>
          <ac:spMkLst>
            <pc:docMk/>
            <pc:sldMk cId="1781375876" sldId="2147376820"/>
            <ac:spMk id="5" creationId="{5ED6C04F-D1D3-7E2C-B9A3-6ECD4904CDB5}"/>
          </ac:spMkLst>
        </pc:spChg>
        <pc:spChg chg="del">
          <ac:chgData name="Clark, Connie" userId="73351e60-ad32-4085-a232-1d9f9b189479" providerId="ADAL" clId="{5F87A5E2-C2A2-4F23-BC8C-28F7F5EA6CA7}" dt="2024-03-30T22:43:10.365" v="15438" actId="478"/>
          <ac:spMkLst>
            <pc:docMk/>
            <pc:sldMk cId="1781375876" sldId="2147376820"/>
            <ac:spMk id="5" creationId="{DFB1C958-AC70-1D95-2C83-CA1999A77D3D}"/>
          </ac:spMkLst>
        </pc:spChg>
        <pc:spChg chg="del">
          <ac:chgData name="Clark, Connie" userId="73351e60-ad32-4085-a232-1d9f9b189479" providerId="ADAL" clId="{5F87A5E2-C2A2-4F23-BC8C-28F7F5EA6CA7}" dt="2024-03-30T22:43:10.365" v="15438" actId="478"/>
          <ac:spMkLst>
            <pc:docMk/>
            <pc:sldMk cId="1781375876" sldId="2147376820"/>
            <ac:spMk id="6" creationId="{24D27548-CEB9-28E8-01C0-D7127AD6FE22}"/>
          </ac:spMkLst>
        </pc:spChg>
        <pc:spChg chg="add mod">
          <ac:chgData name="Clark, Connie" userId="73351e60-ad32-4085-a232-1d9f9b189479" providerId="ADAL" clId="{5F87A5E2-C2A2-4F23-BC8C-28F7F5EA6CA7}" dt="2024-03-31T02:03:19.236" v="17938"/>
          <ac:spMkLst>
            <pc:docMk/>
            <pc:sldMk cId="1781375876" sldId="2147376820"/>
            <ac:spMk id="6" creationId="{E7D617EB-D750-79C9-8C78-6F6199755521}"/>
          </ac:spMkLst>
        </pc:spChg>
        <pc:spChg chg="add mod">
          <ac:chgData name="Clark, Connie" userId="73351e60-ad32-4085-a232-1d9f9b189479" providerId="ADAL" clId="{5F87A5E2-C2A2-4F23-BC8C-28F7F5EA6CA7}" dt="2024-03-31T02:03:19.236" v="17938"/>
          <ac:spMkLst>
            <pc:docMk/>
            <pc:sldMk cId="1781375876" sldId="2147376820"/>
            <ac:spMk id="7" creationId="{5B70F851-5C02-B4F6-238A-330E5B36E954}"/>
          </ac:spMkLst>
        </pc:spChg>
        <pc:spChg chg="add mod">
          <ac:chgData name="Clark, Connie" userId="73351e60-ad32-4085-a232-1d9f9b189479" providerId="ADAL" clId="{5F87A5E2-C2A2-4F23-BC8C-28F7F5EA6CA7}" dt="2024-03-30T22:44:08.584" v="15459" actId="14100"/>
          <ac:spMkLst>
            <pc:docMk/>
            <pc:sldMk cId="1781375876" sldId="2147376820"/>
            <ac:spMk id="8" creationId="{6D3FA199-8828-B47C-8645-4C096C8B6F2A}"/>
          </ac:spMkLst>
        </pc:spChg>
        <pc:spChg chg="add del mod">
          <ac:chgData name="Clark, Connie" userId="73351e60-ad32-4085-a232-1d9f9b189479" providerId="ADAL" clId="{5F87A5E2-C2A2-4F23-BC8C-28F7F5EA6CA7}" dt="2024-03-30T23:01:03.697" v="15587" actId="478"/>
          <ac:spMkLst>
            <pc:docMk/>
            <pc:sldMk cId="1781375876" sldId="2147376820"/>
            <ac:spMk id="12" creationId="{427D2316-FBCB-3F26-D6A0-909175C12EF2}"/>
          </ac:spMkLst>
        </pc:spChg>
        <pc:spChg chg="add mod">
          <ac:chgData name="Clark, Connie" userId="73351e60-ad32-4085-a232-1d9f9b189479" providerId="ADAL" clId="{5F87A5E2-C2A2-4F23-BC8C-28F7F5EA6CA7}" dt="2024-03-30T23:00:32.294" v="15585" actId="113"/>
          <ac:spMkLst>
            <pc:docMk/>
            <pc:sldMk cId="1781375876" sldId="2147376820"/>
            <ac:spMk id="13" creationId="{A9D73DFA-9E11-88EA-6A88-6E9AFBA7D6A7}"/>
          </ac:spMkLst>
        </pc:spChg>
        <pc:spChg chg="add mod">
          <ac:chgData name="Clark, Connie" userId="73351e60-ad32-4085-a232-1d9f9b189479" providerId="ADAL" clId="{5F87A5E2-C2A2-4F23-BC8C-28F7F5EA6CA7}" dt="2024-03-30T23:00:32.294" v="15585" actId="113"/>
          <ac:spMkLst>
            <pc:docMk/>
            <pc:sldMk cId="1781375876" sldId="2147376820"/>
            <ac:spMk id="14" creationId="{A3B3190F-9A64-B503-CDEC-F7B2BE953EB9}"/>
          </ac:spMkLst>
        </pc:spChg>
        <pc:spChg chg="add mod">
          <ac:chgData name="Clark, Connie" userId="73351e60-ad32-4085-a232-1d9f9b189479" providerId="ADAL" clId="{5F87A5E2-C2A2-4F23-BC8C-28F7F5EA6CA7}" dt="2024-03-30T22:43:52.375" v="15457" actId="1038"/>
          <ac:spMkLst>
            <pc:docMk/>
            <pc:sldMk cId="1781375876" sldId="2147376820"/>
            <ac:spMk id="15" creationId="{7A6E3E9F-C1BA-82DF-8EC7-72D525BDB8A2}"/>
          </ac:spMkLst>
        </pc:spChg>
        <pc:spChg chg="add mod">
          <ac:chgData name="Clark, Connie" userId="73351e60-ad32-4085-a232-1d9f9b189479" providerId="ADAL" clId="{5F87A5E2-C2A2-4F23-BC8C-28F7F5EA6CA7}" dt="2024-03-30T23:00:32.294" v="15585" actId="113"/>
          <ac:spMkLst>
            <pc:docMk/>
            <pc:sldMk cId="1781375876" sldId="2147376820"/>
            <ac:spMk id="16" creationId="{A4D21ED5-E00E-AA3C-FC40-7F2352EFD271}"/>
          </ac:spMkLst>
        </pc:spChg>
        <pc:spChg chg="add mod">
          <ac:chgData name="Clark, Connie" userId="73351e60-ad32-4085-a232-1d9f9b189479" providerId="ADAL" clId="{5F87A5E2-C2A2-4F23-BC8C-28F7F5EA6CA7}" dt="2024-03-30T22:43:52.375" v="15457" actId="1038"/>
          <ac:spMkLst>
            <pc:docMk/>
            <pc:sldMk cId="1781375876" sldId="2147376820"/>
            <ac:spMk id="17" creationId="{BD0FFEEB-E84E-CF26-FEDE-8815ED8CF0C8}"/>
          </ac:spMkLst>
        </pc:spChg>
        <pc:spChg chg="add del mod">
          <ac:chgData name="Clark, Connie" userId="73351e60-ad32-4085-a232-1d9f9b189479" providerId="ADAL" clId="{5F87A5E2-C2A2-4F23-BC8C-28F7F5EA6CA7}" dt="2024-03-30T23:01:03.697" v="15587" actId="478"/>
          <ac:spMkLst>
            <pc:docMk/>
            <pc:sldMk cId="1781375876" sldId="2147376820"/>
            <ac:spMk id="18" creationId="{2818BEF2-E1A4-07D0-2D11-06AFB0C4086C}"/>
          </ac:spMkLst>
        </pc:spChg>
        <pc:spChg chg="del mod">
          <ac:chgData name="Clark, Connie" userId="73351e60-ad32-4085-a232-1d9f9b189479" providerId="ADAL" clId="{5F87A5E2-C2A2-4F23-BC8C-28F7F5EA6CA7}" dt="2024-03-31T01:55:54.506" v="17683" actId="478"/>
          <ac:spMkLst>
            <pc:docMk/>
            <pc:sldMk cId="1781375876" sldId="2147376820"/>
            <ac:spMk id="19" creationId="{EB1B145D-C6D0-7636-B993-3B67735A0205}"/>
          </ac:spMkLst>
        </pc:spChg>
        <pc:spChg chg="add del mod">
          <ac:chgData name="Clark, Connie" userId="73351e60-ad32-4085-a232-1d9f9b189479" providerId="ADAL" clId="{5F87A5E2-C2A2-4F23-BC8C-28F7F5EA6CA7}" dt="2024-03-30T23:01:03.697" v="15587" actId="478"/>
          <ac:spMkLst>
            <pc:docMk/>
            <pc:sldMk cId="1781375876" sldId="2147376820"/>
            <ac:spMk id="20" creationId="{DB168371-F68D-6654-648F-DE4DA10B0450}"/>
          </ac:spMkLst>
        </pc:spChg>
        <pc:spChg chg="add mod">
          <ac:chgData name="Clark, Connie" userId="73351e60-ad32-4085-a232-1d9f9b189479" providerId="ADAL" clId="{5F87A5E2-C2A2-4F23-BC8C-28F7F5EA6CA7}" dt="2024-03-30T23:29:15.169" v="15787" actId="1076"/>
          <ac:spMkLst>
            <pc:docMk/>
            <pc:sldMk cId="1781375876" sldId="2147376820"/>
            <ac:spMk id="21" creationId="{904878E7-8B42-C1D3-EA10-0860033F445A}"/>
          </ac:spMkLst>
        </pc:spChg>
        <pc:spChg chg="add mod">
          <ac:chgData name="Clark, Connie" userId="73351e60-ad32-4085-a232-1d9f9b189479" providerId="ADAL" clId="{5F87A5E2-C2A2-4F23-BC8C-28F7F5EA6CA7}" dt="2024-03-30T22:43:52.375" v="15457" actId="1038"/>
          <ac:spMkLst>
            <pc:docMk/>
            <pc:sldMk cId="1781375876" sldId="2147376820"/>
            <ac:spMk id="22" creationId="{C85986E0-8E62-180F-59E8-2E6514703B33}"/>
          </ac:spMkLst>
        </pc:spChg>
        <pc:spChg chg="add mod">
          <ac:chgData name="Clark, Connie" userId="73351e60-ad32-4085-a232-1d9f9b189479" providerId="ADAL" clId="{5F87A5E2-C2A2-4F23-BC8C-28F7F5EA6CA7}" dt="2024-03-30T22:43:52.375" v="15457" actId="1038"/>
          <ac:spMkLst>
            <pc:docMk/>
            <pc:sldMk cId="1781375876" sldId="2147376820"/>
            <ac:spMk id="23" creationId="{92750208-15EA-7165-A9B3-FE75BE9730BE}"/>
          </ac:spMkLst>
        </pc:spChg>
        <pc:spChg chg="add mod">
          <ac:chgData name="Clark, Connie" userId="73351e60-ad32-4085-a232-1d9f9b189479" providerId="ADAL" clId="{5F87A5E2-C2A2-4F23-BC8C-28F7F5EA6CA7}" dt="2024-03-30T22:43:52.375" v="15457" actId="1038"/>
          <ac:spMkLst>
            <pc:docMk/>
            <pc:sldMk cId="1781375876" sldId="2147376820"/>
            <ac:spMk id="24" creationId="{DB9A2D5B-411B-D9CA-5C58-DA9F57A5A180}"/>
          </ac:spMkLst>
        </pc:spChg>
        <pc:spChg chg="add mod">
          <ac:chgData name="Clark, Connie" userId="73351e60-ad32-4085-a232-1d9f9b189479" providerId="ADAL" clId="{5F87A5E2-C2A2-4F23-BC8C-28F7F5EA6CA7}" dt="2024-03-30T22:43:52.375" v="15457" actId="1038"/>
          <ac:spMkLst>
            <pc:docMk/>
            <pc:sldMk cId="1781375876" sldId="2147376820"/>
            <ac:spMk id="25" creationId="{16A1677D-7C5E-424B-12DF-9CA1850253CF}"/>
          </ac:spMkLst>
        </pc:spChg>
        <pc:spChg chg="add mod">
          <ac:chgData name="Clark, Connie" userId="73351e60-ad32-4085-a232-1d9f9b189479" providerId="ADAL" clId="{5F87A5E2-C2A2-4F23-BC8C-28F7F5EA6CA7}" dt="2024-03-30T23:00:32.294" v="15585" actId="113"/>
          <ac:spMkLst>
            <pc:docMk/>
            <pc:sldMk cId="1781375876" sldId="2147376820"/>
            <ac:spMk id="26" creationId="{84E85BB3-6FE5-E193-2682-C2D3CBBB7748}"/>
          </ac:spMkLst>
        </pc:spChg>
        <pc:spChg chg="add mod">
          <ac:chgData name="Clark, Connie" userId="73351e60-ad32-4085-a232-1d9f9b189479" providerId="ADAL" clId="{5F87A5E2-C2A2-4F23-BC8C-28F7F5EA6CA7}" dt="2024-03-30T23:00:32.294" v="15585" actId="113"/>
          <ac:spMkLst>
            <pc:docMk/>
            <pc:sldMk cId="1781375876" sldId="2147376820"/>
            <ac:spMk id="27" creationId="{4513018C-05B1-92A4-5B8F-3DC5328C406B}"/>
          </ac:spMkLst>
        </pc:spChg>
        <pc:spChg chg="add mod">
          <ac:chgData name="Clark, Connie" userId="73351e60-ad32-4085-a232-1d9f9b189479" providerId="ADAL" clId="{5F87A5E2-C2A2-4F23-BC8C-28F7F5EA6CA7}" dt="2024-03-31T04:03:41.507" v="19501" actId="1076"/>
          <ac:spMkLst>
            <pc:docMk/>
            <pc:sldMk cId="1781375876" sldId="2147376820"/>
            <ac:spMk id="28" creationId="{1F8DDD3D-F18B-23CB-BD17-0E093682ED6F}"/>
          </ac:spMkLst>
        </pc:spChg>
        <pc:spChg chg="add del mod">
          <ac:chgData name="Clark, Connie" userId="73351e60-ad32-4085-a232-1d9f9b189479" providerId="ADAL" clId="{5F87A5E2-C2A2-4F23-BC8C-28F7F5EA6CA7}" dt="2024-03-31T04:03:24.469" v="19497" actId="478"/>
          <ac:spMkLst>
            <pc:docMk/>
            <pc:sldMk cId="1781375876" sldId="2147376820"/>
            <ac:spMk id="30" creationId="{D91AC806-4A23-CEAC-0690-6D23015291B4}"/>
          </ac:spMkLst>
        </pc:spChg>
        <pc:spChg chg="add mod">
          <ac:chgData name="Clark, Connie" userId="73351e60-ad32-4085-a232-1d9f9b189479" providerId="ADAL" clId="{5F87A5E2-C2A2-4F23-BC8C-28F7F5EA6CA7}" dt="2024-03-30T22:58:02.741" v="15552" actId="1076"/>
          <ac:spMkLst>
            <pc:docMk/>
            <pc:sldMk cId="1781375876" sldId="2147376820"/>
            <ac:spMk id="31" creationId="{BF100AE5-778D-142F-750D-0107A394AFAF}"/>
          </ac:spMkLst>
        </pc:spChg>
        <pc:spChg chg="add mod">
          <ac:chgData name="Clark, Connie" userId="73351e60-ad32-4085-a232-1d9f9b189479" providerId="ADAL" clId="{5F87A5E2-C2A2-4F23-BC8C-28F7F5EA6CA7}" dt="2024-03-30T22:58:02.741" v="15552" actId="1076"/>
          <ac:spMkLst>
            <pc:docMk/>
            <pc:sldMk cId="1781375876" sldId="2147376820"/>
            <ac:spMk id="64" creationId="{07722337-715A-116E-C751-58535842A48E}"/>
          </ac:spMkLst>
        </pc:spChg>
        <pc:spChg chg="add mod">
          <ac:chgData name="Clark, Connie" userId="73351e60-ad32-4085-a232-1d9f9b189479" providerId="ADAL" clId="{5F87A5E2-C2A2-4F23-BC8C-28F7F5EA6CA7}" dt="2024-03-30T22:58:51.930" v="15569" actId="14100"/>
          <ac:spMkLst>
            <pc:docMk/>
            <pc:sldMk cId="1781375876" sldId="2147376820"/>
            <ac:spMk id="65" creationId="{99B6B7EE-E6D9-E611-BDB9-0D371835335C}"/>
          </ac:spMkLst>
        </pc:spChg>
        <pc:spChg chg="del">
          <ac:chgData name="Clark, Connie" userId="73351e60-ad32-4085-a232-1d9f9b189479" providerId="ADAL" clId="{5F87A5E2-C2A2-4F23-BC8C-28F7F5EA6CA7}" dt="2024-03-30T22:43:10.365" v="15438" actId="478"/>
          <ac:spMkLst>
            <pc:docMk/>
            <pc:sldMk cId="1781375876" sldId="2147376820"/>
            <ac:spMk id="66" creationId="{612FF32C-E813-727F-A0A3-63343D1385C2}"/>
          </ac:spMkLst>
        </pc:spChg>
        <pc:spChg chg="add mod">
          <ac:chgData name="Clark, Connie" userId="73351e60-ad32-4085-a232-1d9f9b189479" providerId="ADAL" clId="{5F87A5E2-C2A2-4F23-BC8C-28F7F5EA6CA7}" dt="2024-03-30T23:00:57.456" v="15586"/>
          <ac:spMkLst>
            <pc:docMk/>
            <pc:sldMk cId="1781375876" sldId="2147376820"/>
            <ac:spMk id="67" creationId="{B844FA1D-46D9-3BED-D35A-F75D0D27AE54}"/>
          </ac:spMkLst>
        </pc:spChg>
        <pc:spChg chg="add mod">
          <ac:chgData name="Clark, Connie" userId="73351e60-ad32-4085-a232-1d9f9b189479" providerId="ADAL" clId="{5F87A5E2-C2A2-4F23-BC8C-28F7F5EA6CA7}" dt="2024-03-30T23:01:07.837" v="15589" actId="20577"/>
          <ac:spMkLst>
            <pc:docMk/>
            <pc:sldMk cId="1781375876" sldId="2147376820"/>
            <ac:spMk id="68" creationId="{79F0AEA9-9D8C-95E3-BAFF-9AEB55F3B5C5}"/>
          </ac:spMkLst>
        </pc:spChg>
        <pc:spChg chg="add mod">
          <ac:chgData name="Clark, Connie" userId="73351e60-ad32-4085-a232-1d9f9b189479" providerId="ADAL" clId="{5F87A5E2-C2A2-4F23-BC8C-28F7F5EA6CA7}" dt="2024-03-30T22:59:43.174" v="15578" actId="122"/>
          <ac:spMkLst>
            <pc:docMk/>
            <pc:sldMk cId="1781375876" sldId="2147376820"/>
            <ac:spMk id="69" creationId="{0B878F98-23B8-32B3-BFC8-FDAF72D3556E}"/>
          </ac:spMkLst>
        </pc:spChg>
        <pc:spChg chg="del mod">
          <ac:chgData name="Clark, Connie" userId="73351e60-ad32-4085-a232-1d9f9b189479" providerId="ADAL" clId="{5F87A5E2-C2A2-4F23-BC8C-28F7F5EA6CA7}" dt="2024-03-30T22:44:49.145" v="15465" actId="478"/>
          <ac:spMkLst>
            <pc:docMk/>
            <pc:sldMk cId="1781375876" sldId="2147376820"/>
            <ac:spMk id="70" creationId="{9EAF54DD-A439-08D1-6244-E163818382C9}"/>
          </ac:spMkLst>
        </pc:spChg>
        <pc:spChg chg="add mod">
          <ac:chgData name="Clark, Connie" userId="73351e60-ad32-4085-a232-1d9f9b189479" providerId="ADAL" clId="{5F87A5E2-C2A2-4F23-BC8C-28F7F5EA6CA7}" dt="2024-03-30T23:00:19.673" v="15584" actId="20577"/>
          <ac:spMkLst>
            <pc:docMk/>
            <pc:sldMk cId="1781375876" sldId="2147376820"/>
            <ac:spMk id="71" creationId="{0871A5D7-1DFC-7B2D-64D9-644607AA38B3}"/>
          </ac:spMkLst>
        </pc:spChg>
        <pc:spChg chg="add del mod">
          <ac:chgData name="Clark, Connie" userId="73351e60-ad32-4085-a232-1d9f9b189479" providerId="ADAL" clId="{5F87A5E2-C2A2-4F23-BC8C-28F7F5EA6CA7}" dt="2024-03-30T23:29:17.249" v="15788"/>
          <ac:spMkLst>
            <pc:docMk/>
            <pc:sldMk cId="1781375876" sldId="2147376820"/>
            <ac:spMk id="74" creationId="{A8FFEB91-B423-B89B-71F1-3A2B5F280E8A}"/>
          </ac:spMkLst>
        </pc:spChg>
        <pc:spChg chg="add del mod">
          <ac:chgData name="Clark, Connie" userId="73351e60-ad32-4085-a232-1d9f9b189479" providerId="ADAL" clId="{5F87A5E2-C2A2-4F23-BC8C-28F7F5EA6CA7}" dt="2024-03-30T23:29:17.249" v="15788"/>
          <ac:spMkLst>
            <pc:docMk/>
            <pc:sldMk cId="1781375876" sldId="2147376820"/>
            <ac:spMk id="75" creationId="{281D09C6-AC80-E62F-1318-2E95F797BBF0}"/>
          </ac:spMkLst>
        </pc:spChg>
        <pc:spChg chg="add del mod">
          <ac:chgData name="Clark, Connie" userId="73351e60-ad32-4085-a232-1d9f9b189479" providerId="ADAL" clId="{5F87A5E2-C2A2-4F23-BC8C-28F7F5EA6CA7}" dt="2024-03-30T23:29:17.249" v="15788"/>
          <ac:spMkLst>
            <pc:docMk/>
            <pc:sldMk cId="1781375876" sldId="2147376820"/>
            <ac:spMk id="76" creationId="{4FA747D4-0E21-3373-E120-9E6EAA922CFB}"/>
          </ac:spMkLst>
        </pc:spChg>
        <pc:spChg chg="add del mod">
          <ac:chgData name="Clark, Connie" userId="73351e60-ad32-4085-a232-1d9f9b189479" providerId="ADAL" clId="{5F87A5E2-C2A2-4F23-BC8C-28F7F5EA6CA7}" dt="2024-03-30T23:29:31.825" v="15791" actId="478"/>
          <ac:spMkLst>
            <pc:docMk/>
            <pc:sldMk cId="1781375876" sldId="2147376820"/>
            <ac:spMk id="77" creationId="{1B267C05-C4EC-0192-EE9A-CF5930B2EE7D}"/>
          </ac:spMkLst>
        </pc:spChg>
        <pc:spChg chg="add del mod">
          <ac:chgData name="Clark, Connie" userId="73351e60-ad32-4085-a232-1d9f9b189479" providerId="ADAL" clId="{5F87A5E2-C2A2-4F23-BC8C-28F7F5EA6CA7}" dt="2024-03-30T23:29:31.825" v="15791" actId="478"/>
          <ac:spMkLst>
            <pc:docMk/>
            <pc:sldMk cId="1781375876" sldId="2147376820"/>
            <ac:spMk id="78" creationId="{DBA57A7A-1AE6-E65C-5291-19C61F64CA3B}"/>
          </ac:spMkLst>
        </pc:spChg>
        <pc:spChg chg="add del mod">
          <ac:chgData name="Clark, Connie" userId="73351e60-ad32-4085-a232-1d9f9b189479" providerId="ADAL" clId="{5F87A5E2-C2A2-4F23-BC8C-28F7F5EA6CA7}" dt="2024-03-30T23:29:31.825" v="15791" actId="478"/>
          <ac:spMkLst>
            <pc:docMk/>
            <pc:sldMk cId="1781375876" sldId="2147376820"/>
            <ac:spMk id="79" creationId="{55B119A3-6562-D25B-33BB-8B3B1DD2EA1E}"/>
          </ac:spMkLst>
        </pc:spChg>
        <pc:spChg chg="del">
          <ac:chgData name="Clark, Connie" userId="73351e60-ad32-4085-a232-1d9f9b189479" providerId="ADAL" clId="{5F87A5E2-C2A2-4F23-BC8C-28F7F5EA6CA7}" dt="2024-03-30T22:43:10.365" v="15438" actId="478"/>
          <ac:spMkLst>
            <pc:docMk/>
            <pc:sldMk cId="1781375876" sldId="2147376820"/>
            <ac:spMk id="80" creationId="{D48BC9E3-6709-D8D9-5FB0-77BE8BD5F867}"/>
          </ac:spMkLst>
        </pc:spChg>
        <pc:spChg chg="add del mod">
          <ac:chgData name="Clark, Connie" userId="73351e60-ad32-4085-a232-1d9f9b189479" providerId="ADAL" clId="{5F87A5E2-C2A2-4F23-BC8C-28F7F5EA6CA7}" dt="2024-03-30T23:29:43.748" v="15793"/>
          <ac:spMkLst>
            <pc:docMk/>
            <pc:sldMk cId="1781375876" sldId="2147376820"/>
            <ac:spMk id="81" creationId="{2CF1EF0A-CCE2-0BB2-ADCD-C87A9A30F3EA}"/>
          </ac:spMkLst>
        </pc:spChg>
        <pc:spChg chg="add del mod">
          <ac:chgData name="Clark, Connie" userId="73351e60-ad32-4085-a232-1d9f9b189479" providerId="ADAL" clId="{5F87A5E2-C2A2-4F23-BC8C-28F7F5EA6CA7}" dt="2024-03-30T23:29:43.748" v="15793"/>
          <ac:spMkLst>
            <pc:docMk/>
            <pc:sldMk cId="1781375876" sldId="2147376820"/>
            <ac:spMk id="82" creationId="{955C852A-99EF-B7E6-61E5-80F3E55A9F4D}"/>
          </ac:spMkLst>
        </pc:spChg>
        <pc:spChg chg="add del mod">
          <ac:chgData name="Clark, Connie" userId="73351e60-ad32-4085-a232-1d9f9b189479" providerId="ADAL" clId="{5F87A5E2-C2A2-4F23-BC8C-28F7F5EA6CA7}" dt="2024-03-30T23:29:43.748" v="15793"/>
          <ac:spMkLst>
            <pc:docMk/>
            <pc:sldMk cId="1781375876" sldId="2147376820"/>
            <ac:spMk id="83" creationId="{D08F8B4C-AC4C-1448-A78B-B6F88E31F68B}"/>
          </ac:spMkLst>
        </pc:spChg>
        <pc:spChg chg="add del mod">
          <ac:chgData name="Clark, Connie" userId="73351e60-ad32-4085-a232-1d9f9b189479" providerId="ADAL" clId="{5F87A5E2-C2A2-4F23-BC8C-28F7F5EA6CA7}" dt="2024-03-30T23:30:41.207" v="15798"/>
          <ac:spMkLst>
            <pc:docMk/>
            <pc:sldMk cId="1781375876" sldId="2147376820"/>
            <ac:spMk id="84" creationId="{D7D22C30-DE06-F015-C489-BF79ECA531D1}"/>
          </ac:spMkLst>
        </pc:spChg>
        <pc:spChg chg="del">
          <ac:chgData name="Clark, Connie" userId="73351e60-ad32-4085-a232-1d9f9b189479" providerId="ADAL" clId="{5F87A5E2-C2A2-4F23-BC8C-28F7F5EA6CA7}" dt="2024-03-30T22:43:10.365" v="15438" actId="478"/>
          <ac:spMkLst>
            <pc:docMk/>
            <pc:sldMk cId="1781375876" sldId="2147376820"/>
            <ac:spMk id="85" creationId="{F89A6908-A0D5-F791-5D96-5FF00182F031}"/>
          </ac:spMkLst>
        </pc:spChg>
        <pc:spChg chg="del">
          <ac:chgData name="Clark, Connie" userId="73351e60-ad32-4085-a232-1d9f9b189479" providerId="ADAL" clId="{5F87A5E2-C2A2-4F23-BC8C-28F7F5EA6CA7}" dt="2024-03-30T22:43:10.365" v="15438" actId="478"/>
          <ac:spMkLst>
            <pc:docMk/>
            <pc:sldMk cId="1781375876" sldId="2147376820"/>
            <ac:spMk id="86" creationId="{3C243166-C468-4F2F-A274-BFDA9C4762CB}"/>
          </ac:spMkLst>
        </pc:spChg>
        <pc:spChg chg="del">
          <ac:chgData name="Clark, Connie" userId="73351e60-ad32-4085-a232-1d9f9b189479" providerId="ADAL" clId="{5F87A5E2-C2A2-4F23-BC8C-28F7F5EA6CA7}" dt="2024-03-30T22:43:10.365" v="15438" actId="478"/>
          <ac:spMkLst>
            <pc:docMk/>
            <pc:sldMk cId="1781375876" sldId="2147376820"/>
            <ac:spMk id="87" creationId="{D8EABBBA-C759-93E7-693F-19BDC90A0A5C}"/>
          </ac:spMkLst>
        </pc:spChg>
        <pc:spChg chg="del">
          <ac:chgData name="Clark, Connie" userId="73351e60-ad32-4085-a232-1d9f9b189479" providerId="ADAL" clId="{5F87A5E2-C2A2-4F23-BC8C-28F7F5EA6CA7}" dt="2024-03-30T22:43:10.365" v="15438" actId="478"/>
          <ac:spMkLst>
            <pc:docMk/>
            <pc:sldMk cId="1781375876" sldId="2147376820"/>
            <ac:spMk id="88" creationId="{09D6B57A-ADEA-2613-4773-22EEE03B4887}"/>
          </ac:spMkLst>
        </pc:spChg>
        <pc:spChg chg="add del mod">
          <ac:chgData name="Clark, Connie" userId="73351e60-ad32-4085-a232-1d9f9b189479" providerId="ADAL" clId="{5F87A5E2-C2A2-4F23-BC8C-28F7F5EA6CA7}" dt="2024-03-30T23:30:41.207" v="15798"/>
          <ac:spMkLst>
            <pc:docMk/>
            <pc:sldMk cId="1781375876" sldId="2147376820"/>
            <ac:spMk id="89" creationId="{DDD5382C-B1E7-5CEE-91A5-28E97825C3E3}"/>
          </ac:spMkLst>
        </pc:spChg>
        <pc:spChg chg="add del mod">
          <ac:chgData name="Clark, Connie" userId="73351e60-ad32-4085-a232-1d9f9b189479" providerId="ADAL" clId="{5F87A5E2-C2A2-4F23-BC8C-28F7F5EA6CA7}" dt="2024-03-30T23:30:41.207" v="15798"/>
          <ac:spMkLst>
            <pc:docMk/>
            <pc:sldMk cId="1781375876" sldId="2147376820"/>
            <ac:spMk id="90" creationId="{5E538C17-7D11-C246-9676-860D17F4FC74}"/>
          </ac:spMkLst>
        </pc:spChg>
        <pc:spChg chg="add del mod">
          <ac:chgData name="Clark, Connie" userId="73351e60-ad32-4085-a232-1d9f9b189479" providerId="ADAL" clId="{5F87A5E2-C2A2-4F23-BC8C-28F7F5EA6CA7}" dt="2024-03-30T23:30:41.207" v="15798"/>
          <ac:spMkLst>
            <pc:docMk/>
            <pc:sldMk cId="1781375876" sldId="2147376820"/>
            <ac:spMk id="91" creationId="{0CBD0028-F282-B6E7-7AB3-8FD82128510E}"/>
          </ac:spMkLst>
        </pc:spChg>
        <pc:spChg chg="del">
          <ac:chgData name="Clark, Connie" userId="73351e60-ad32-4085-a232-1d9f9b189479" providerId="ADAL" clId="{5F87A5E2-C2A2-4F23-BC8C-28F7F5EA6CA7}" dt="2024-03-30T22:43:10.365" v="15438" actId="478"/>
          <ac:spMkLst>
            <pc:docMk/>
            <pc:sldMk cId="1781375876" sldId="2147376820"/>
            <ac:spMk id="92" creationId="{97196A89-02F9-B065-0D4A-5F3FC8989EB7}"/>
          </ac:spMkLst>
        </pc:spChg>
        <pc:spChg chg="del">
          <ac:chgData name="Clark, Connie" userId="73351e60-ad32-4085-a232-1d9f9b189479" providerId="ADAL" clId="{5F87A5E2-C2A2-4F23-BC8C-28F7F5EA6CA7}" dt="2024-03-30T22:43:10.365" v="15438" actId="478"/>
          <ac:spMkLst>
            <pc:docMk/>
            <pc:sldMk cId="1781375876" sldId="2147376820"/>
            <ac:spMk id="93" creationId="{C2518C27-15BB-AD7E-E98D-1180D80C4605}"/>
          </ac:spMkLst>
        </pc:spChg>
        <pc:spChg chg="del">
          <ac:chgData name="Clark, Connie" userId="73351e60-ad32-4085-a232-1d9f9b189479" providerId="ADAL" clId="{5F87A5E2-C2A2-4F23-BC8C-28F7F5EA6CA7}" dt="2024-03-30T22:43:10.365" v="15438" actId="478"/>
          <ac:spMkLst>
            <pc:docMk/>
            <pc:sldMk cId="1781375876" sldId="2147376820"/>
            <ac:spMk id="94" creationId="{89AA7F19-E4E5-2525-2EB3-849000283CDF}"/>
          </ac:spMkLst>
        </pc:spChg>
        <pc:spChg chg="del">
          <ac:chgData name="Clark, Connie" userId="73351e60-ad32-4085-a232-1d9f9b189479" providerId="ADAL" clId="{5F87A5E2-C2A2-4F23-BC8C-28F7F5EA6CA7}" dt="2024-03-30T22:43:10.365" v="15438" actId="478"/>
          <ac:spMkLst>
            <pc:docMk/>
            <pc:sldMk cId="1781375876" sldId="2147376820"/>
            <ac:spMk id="95" creationId="{83E895AE-79A4-E116-8726-7132AE88BF7D}"/>
          </ac:spMkLst>
        </pc:spChg>
        <pc:spChg chg="add del mod">
          <ac:chgData name="Clark, Connie" userId="73351e60-ad32-4085-a232-1d9f9b189479" providerId="ADAL" clId="{5F87A5E2-C2A2-4F23-BC8C-28F7F5EA6CA7}" dt="2024-03-30T23:30:41.207" v="15798"/>
          <ac:spMkLst>
            <pc:docMk/>
            <pc:sldMk cId="1781375876" sldId="2147376820"/>
            <ac:spMk id="96" creationId="{3D2BC124-FD4C-1545-8C3B-DF14888D6E5E}"/>
          </ac:spMkLst>
        </pc:spChg>
        <pc:spChg chg="add del mod">
          <ac:chgData name="Clark, Connie" userId="73351e60-ad32-4085-a232-1d9f9b189479" providerId="ADAL" clId="{5F87A5E2-C2A2-4F23-BC8C-28F7F5EA6CA7}" dt="2024-03-30T23:30:41.207" v="15798"/>
          <ac:spMkLst>
            <pc:docMk/>
            <pc:sldMk cId="1781375876" sldId="2147376820"/>
            <ac:spMk id="97" creationId="{3A64E762-F7B6-99F6-432B-3A855D1C9381}"/>
          </ac:spMkLst>
        </pc:spChg>
        <pc:spChg chg="del">
          <ac:chgData name="Clark, Connie" userId="73351e60-ad32-4085-a232-1d9f9b189479" providerId="ADAL" clId="{5F87A5E2-C2A2-4F23-BC8C-28F7F5EA6CA7}" dt="2024-03-30T22:43:10.365" v="15438" actId="478"/>
          <ac:spMkLst>
            <pc:docMk/>
            <pc:sldMk cId="1781375876" sldId="2147376820"/>
            <ac:spMk id="98" creationId="{1E967938-6E53-2603-C846-5806BA1555A2}"/>
          </ac:spMkLst>
        </pc:spChg>
        <pc:spChg chg="add del mod">
          <ac:chgData name="Clark, Connie" userId="73351e60-ad32-4085-a232-1d9f9b189479" providerId="ADAL" clId="{5F87A5E2-C2A2-4F23-BC8C-28F7F5EA6CA7}" dt="2024-03-30T23:30:41.207" v="15798"/>
          <ac:spMkLst>
            <pc:docMk/>
            <pc:sldMk cId="1781375876" sldId="2147376820"/>
            <ac:spMk id="99" creationId="{27AF1AA1-FA2C-E1EF-4CD1-C71499D6C9E6}"/>
          </ac:spMkLst>
        </pc:spChg>
        <pc:spChg chg="add del mod">
          <ac:chgData name="Clark, Connie" userId="73351e60-ad32-4085-a232-1d9f9b189479" providerId="ADAL" clId="{5F87A5E2-C2A2-4F23-BC8C-28F7F5EA6CA7}" dt="2024-03-30T23:30:41.207" v="15798"/>
          <ac:spMkLst>
            <pc:docMk/>
            <pc:sldMk cId="1781375876" sldId="2147376820"/>
            <ac:spMk id="100" creationId="{E560E3D6-B507-633D-6C24-7E08B18A3BAD}"/>
          </ac:spMkLst>
        </pc:spChg>
        <pc:spChg chg="add del mod">
          <ac:chgData name="Clark, Connie" userId="73351e60-ad32-4085-a232-1d9f9b189479" providerId="ADAL" clId="{5F87A5E2-C2A2-4F23-BC8C-28F7F5EA6CA7}" dt="2024-03-30T23:30:41.207" v="15798"/>
          <ac:spMkLst>
            <pc:docMk/>
            <pc:sldMk cId="1781375876" sldId="2147376820"/>
            <ac:spMk id="101" creationId="{170E2704-5928-1DA0-57D9-E8EDE6F7B317}"/>
          </ac:spMkLst>
        </pc:spChg>
        <pc:spChg chg="add mod">
          <ac:chgData name="Clark, Connie" userId="73351e60-ad32-4085-a232-1d9f9b189479" providerId="ADAL" clId="{5F87A5E2-C2A2-4F23-BC8C-28F7F5EA6CA7}" dt="2024-03-30T23:41:08.441" v="15872"/>
          <ac:spMkLst>
            <pc:docMk/>
            <pc:sldMk cId="1781375876" sldId="2147376820"/>
            <ac:spMk id="104" creationId="{0F3251C4-FCED-5E0B-9884-7972955B4071}"/>
          </ac:spMkLst>
        </pc:spChg>
        <pc:spChg chg="add del mod">
          <ac:chgData name="Clark, Connie" userId="73351e60-ad32-4085-a232-1d9f9b189479" providerId="ADAL" clId="{5F87A5E2-C2A2-4F23-BC8C-28F7F5EA6CA7}" dt="2024-03-31T01:55:54.506" v="17683" actId="478"/>
          <ac:spMkLst>
            <pc:docMk/>
            <pc:sldMk cId="1781375876" sldId="2147376820"/>
            <ac:spMk id="105" creationId="{22C83446-45FA-1C11-ACD8-01F3CF105771}"/>
          </ac:spMkLst>
        </pc:spChg>
        <pc:picChg chg="del mod">
          <ac:chgData name="Clark, Connie" userId="73351e60-ad32-4085-a232-1d9f9b189479" providerId="ADAL" clId="{5F87A5E2-C2A2-4F23-BC8C-28F7F5EA6CA7}" dt="2024-03-30T23:01:26.378" v="15591" actId="478"/>
          <ac:picMkLst>
            <pc:docMk/>
            <pc:sldMk cId="1781375876" sldId="2147376820"/>
            <ac:picMk id="72" creationId="{5B6B67DC-4F14-EFCC-3CF9-CC7CBD07C692}"/>
          </ac:picMkLst>
        </pc:picChg>
        <pc:picChg chg="add del mod">
          <ac:chgData name="Clark, Connie" userId="73351e60-ad32-4085-a232-1d9f9b189479" providerId="ADAL" clId="{5F87A5E2-C2A2-4F23-BC8C-28F7F5EA6CA7}" dt="2024-03-30T23:29:08.891" v="15784" actId="478"/>
          <ac:picMkLst>
            <pc:docMk/>
            <pc:sldMk cId="1781375876" sldId="2147376820"/>
            <ac:picMk id="73" creationId="{2FB429CB-AC09-FE72-BC46-F51239F26039}"/>
          </ac:picMkLst>
        </pc:picChg>
        <pc:picChg chg="add del mod">
          <ac:chgData name="Clark, Connie" userId="73351e60-ad32-4085-a232-1d9f9b189479" providerId="ADAL" clId="{5F87A5E2-C2A2-4F23-BC8C-28F7F5EA6CA7}" dt="2024-03-30T23:37:22.245" v="15823" actId="478"/>
          <ac:picMkLst>
            <pc:docMk/>
            <pc:sldMk cId="1781375876" sldId="2147376820"/>
            <ac:picMk id="102" creationId="{5EF30C9A-0D62-781A-7D50-335768C6CEC8}"/>
          </ac:picMkLst>
        </pc:picChg>
        <pc:picChg chg="add mod">
          <ac:chgData name="Clark, Connie" userId="73351e60-ad32-4085-a232-1d9f9b189479" providerId="ADAL" clId="{5F87A5E2-C2A2-4F23-BC8C-28F7F5EA6CA7}" dt="2024-03-31T04:03:35.144" v="19500" actId="1076"/>
          <ac:picMkLst>
            <pc:docMk/>
            <pc:sldMk cId="1781375876" sldId="2147376820"/>
            <ac:picMk id="103" creationId="{2AA2B223-8FCF-166A-3D5B-054F241DBE9D}"/>
          </ac:picMkLst>
        </pc:picChg>
        <pc:cxnChg chg="del">
          <ac:chgData name="Clark, Connie" userId="73351e60-ad32-4085-a232-1d9f9b189479" providerId="ADAL" clId="{5F87A5E2-C2A2-4F23-BC8C-28F7F5EA6CA7}" dt="2024-03-30T22:43:10.365" v="15438" actId="478"/>
          <ac:cxnSpMkLst>
            <pc:docMk/>
            <pc:sldMk cId="1781375876" sldId="2147376820"/>
            <ac:cxnSpMk id="7" creationId="{85D1103F-6D11-B879-0659-00B1A64C52F1}"/>
          </ac:cxnSpMkLst>
        </pc:cxnChg>
        <pc:cxnChg chg="del">
          <ac:chgData name="Clark, Connie" userId="73351e60-ad32-4085-a232-1d9f9b189479" providerId="ADAL" clId="{5F87A5E2-C2A2-4F23-BC8C-28F7F5EA6CA7}" dt="2024-03-30T22:43:10.365" v="15438" actId="478"/>
          <ac:cxnSpMkLst>
            <pc:docMk/>
            <pc:sldMk cId="1781375876" sldId="2147376820"/>
            <ac:cxnSpMk id="9" creationId="{26362CCB-3D61-6D87-535C-BBA0B0C11BCA}"/>
          </ac:cxnSpMkLst>
        </pc:cxnChg>
        <pc:cxnChg chg="add del mod">
          <ac:chgData name="Clark, Connie" userId="73351e60-ad32-4085-a232-1d9f9b189479" providerId="ADAL" clId="{5F87A5E2-C2A2-4F23-BC8C-28F7F5EA6CA7}" dt="2024-03-30T22:44:26.031" v="15461" actId="478"/>
          <ac:cxnSpMkLst>
            <pc:docMk/>
            <pc:sldMk cId="1781375876" sldId="2147376820"/>
            <ac:cxnSpMk id="10" creationId="{851692EA-1669-8340-9A4D-B8D82707549C}"/>
          </ac:cxnSpMkLst>
        </pc:cxnChg>
        <pc:cxnChg chg="add del mod">
          <ac:chgData name="Clark, Connie" userId="73351e60-ad32-4085-a232-1d9f9b189479" providerId="ADAL" clId="{5F87A5E2-C2A2-4F23-BC8C-28F7F5EA6CA7}" dt="2024-03-30T22:44:24.098" v="15460" actId="478"/>
          <ac:cxnSpMkLst>
            <pc:docMk/>
            <pc:sldMk cId="1781375876" sldId="2147376820"/>
            <ac:cxnSpMk id="11" creationId="{00F3B834-651B-6D9F-75B4-7D2DC048A676}"/>
          </ac:cxnSpMkLst>
        </pc:cxnChg>
      </pc:sldChg>
      <pc:sldChg chg="addSp delSp modSp add del mod">
        <pc:chgData name="Clark, Connie" userId="73351e60-ad32-4085-a232-1d9f9b189479" providerId="ADAL" clId="{5F87A5E2-C2A2-4F23-BC8C-28F7F5EA6CA7}" dt="2024-05-24T00:09:13.161" v="31035" actId="2696"/>
        <pc:sldMkLst>
          <pc:docMk/>
          <pc:sldMk cId="3092258524" sldId="2147376821"/>
        </pc:sldMkLst>
        <pc:spChg chg="add del">
          <ac:chgData name="Clark, Connie" userId="73351e60-ad32-4085-a232-1d9f9b189479" providerId="ADAL" clId="{5F87A5E2-C2A2-4F23-BC8C-28F7F5EA6CA7}" dt="2024-03-30T23:04:45.221" v="15605" actId="478"/>
          <ac:spMkLst>
            <pc:docMk/>
            <pc:sldMk cId="3092258524" sldId="2147376821"/>
            <ac:spMk id="2" creationId="{0B229392-A63B-4F49-C199-B313B7229490}"/>
          </ac:spMkLst>
        </pc:spChg>
        <pc:spChg chg="add del mod">
          <ac:chgData name="Clark, Connie" userId="73351e60-ad32-4085-a232-1d9f9b189479" providerId="ADAL" clId="{5F87A5E2-C2A2-4F23-BC8C-28F7F5EA6CA7}" dt="2024-03-30T23:14:40.498" v="15678" actId="478"/>
          <ac:spMkLst>
            <pc:docMk/>
            <pc:sldMk cId="3092258524" sldId="2147376821"/>
            <ac:spMk id="3" creationId="{DF218707-BEDC-5409-DA9D-98460866BC2A}"/>
          </ac:spMkLst>
        </pc:spChg>
        <pc:spChg chg="add del mod">
          <ac:chgData name="Clark, Connie" userId="73351e60-ad32-4085-a232-1d9f9b189479" providerId="ADAL" clId="{5F87A5E2-C2A2-4F23-BC8C-28F7F5EA6CA7}" dt="2024-03-30T23:13:55.746" v="15667" actId="478"/>
          <ac:spMkLst>
            <pc:docMk/>
            <pc:sldMk cId="3092258524" sldId="2147376821"/>
            <ac:spMk id="4" creationId="{DDA7B5B5-B412-78DA-AA18-1BB47E69C3BB}"/>
          </ac:spMkLst>
        </pc:spChg>
        <pc:spChg chg="add del mod">
          <ac:chgData name="Clark, Connie" userId="73351e60-ad32-4085-a232-1d9f9b189479" providerId="ADAL" clId="{5F87A5E2-C2A2-4F23-BC8C-28F7F5EA6CA7}" dt="2024-03-30T23:14:01.734" v="15671"/>
          <ac:spMkLst>
            <pc:docMk/>
            <pc:sldMk cId="3092258524" sldId="2147376821"/>
            <ac:spMk id="5" creationId="{245139B4-4491-FD90-CE4D-E44C375B63D4}"/>
          </ac:spMkLst>
        </pc:spChg>
        <pc:spChg chg="add del mod">
          <ac:chgData name="Clark, Connie" userId="73351e60-ad32-4085-a232-1d9f9b189479" providerId="ADAL" clId="{5F87A5E2-C2A2-4F23-BC8C-28F7F5EA6CA7}" dt="2024-03-30T23:14:01.734" v="15671"/>
          <ac:spMkLst>
            <pc:docMk/>
            <pc:sldMk cId="3092258524" sldId="2147376821"/>
            <ac:spMk id="7" creationId="{E6B81028-4587-A519-0369-27C059F6E011}"/>
          </ac:spMkLst>
        </pc:spChg>
        <pc:spChg chg="del">
          <ac:chgData name="Clark, Connie" userId="73351e60-ad32-4085-a232-1d9f9b189479" providerId="ADAL" clId="{5F87A5E2-C2A2-4F23-BC8C-28F7F5EA6CA7}" dt="2024-03-30T23:04:54.957" v="15607" actId="478"/>
          <ac:spMkLst>
            <pc:docMk/>
            <pc:sldMk cId="3092258524" sldId="2147376821"/>
            <ac:spMk id="8" creationId="{6D3FA199-8828-B47C-8645-4C096C8B6F2A}"/>
          </ac:spMkLst>
        </pc:spChg>
        <pc:spChg chg="add mod">
          <ac:chgData name="Clark, Connie" userId="73351e60-ad32-4085-a232-1d9f9b189479" providerId="ADAL" clId="{5F87A5E2-C2A2-4F23-BC8C-28F7F5EA6CA7}" dt="2024-03-31T01:47:01.440" v="17600" actId="1076"/>
          <ac:spMkLst>
            <pc:docMk/>
            <pc:sldMk cId="3092258524" sldId="2147376821"/>
            <ac:spMk id="9" creationId="{59C93A0B-FB2C-ECDD-2A13-F15C8184C15C}"/>
          </ac:spMkLst>
        </pc:spChg>
        <pc:spChg chg="add del mod">
          <ac:chgData name="Clark, Connie" userId="73351e60-ad32-4085-a232-1d9f9b189479" providerId="ADAL" clId="{5F87A5E2-C2A2-4F23-BC8C-28F7F5EA6CA7}" dt="2024-03-30T23:26:58.196" v="15729" actId="478"/>
          <ac:spMkLst>
            <pc:docMk/>
            <pc:sldMk cId="3092258524" sldId="2147376821"/>
            <ac:spMk id="11" creationId="{1945D5A5-0BE5-EDF5-F3F4-D970F42EE67C}"/>
          </ac:spMkLst>
        </pc:spChg>
        <pc:spChg chg="del">
          <ac:chgData name="Clark, Connie" userId="73351e60-ad32-4085-a232-1d9f9b189479" providerId="ADAL" clId="{5F87A5E2-C2A2-4F23-BC8C-28F7F5EA6CA7}" dt="2024-03-30T23:03:33.011" v="15597" actId="478"/>
          <ac:spMkLst>
            <pc:docMk/>
            <pc:sldMk cId="3092258524" sldId="2147376821"/>
            <ac:spMk id="12" creationId="{427D2316-FBCB-3F26-D6A0-909175C12EF2}"/>
          </ac:spMkLst>
        </pc:spChg>
        <pc:spChg chg="del">
          <ac:chgData name="Clark, Connie" userId="73351e60-ad32-4085-a232-1d9f9b189479" providerId="ADAL" clId="{5F87A5E2-C2A2-4F23-BC8C-28F7F5EA6CA7}" dt="2024-03-30T23:03:53.498" v="15601" actId="478"/>
          <ac:spMkLst>
            <pc:docMk/>
            <pc:sldMk cId="3092258524" sldId="2147376821"/>
            <ac:spMk id="13" creationId="{A9D73DFA-9E11-88EA-6A88-6E9AFBA7D6A7}"/>
          </ac:spMkLst>
        </pc:spChg>
        <pc:spChg chg="add del mod">
          <ac:chgData name="Clark, Connie" userId="73351e60-ad32-4085-a232-1d9f9b189479" providerId="ADAL" clId="{5F87A5E2-C2A2-4F23-BC8C-28F7F5EA6CA7}" dt="2024-03-31T01:46:44.038" v="17597" actId="478"/>
          <ac:spMkLst>
            <pc:docMk/>
            <pc:sldMk cId="3092258524" sldId="2147376821"/>
            <ac:spMk id="14" creationId="{5BE972BE-6570-A9E5-9664-F63D402F6443}"/>
          </ac:spMkLst>
        </pc:spChg>
        <pc:spChg chg="del">
          <ac:chgData name="Clark, Connie" userId="73351e60-ad32-4085-a232-1d9f9b189479" providerId="ADAL" clId="{5F87A5E2-C2A2-4F23-BC8C-28F7F5EA6CA7}" dt="2024-03-30T23:03:53.498" v="15601" actId="478"/>
          <ac:spMkLst>
            <pc:docMk/>
            <pc:sldMk cId="3092258524" sldId="2147376821"/>
            <ac:spMk id="14" creationId="{A3B3190F-9A64-B503-CDEC-F7B2BE953EB9}"/>
          </ac:spMkLst>
        </pc:spChg>
        <pc:spChg chg="del">
          <ac:chgData name="Clark, Connie" userId="73351e60-ad32-4085-a232-1d9f9b189479" providerId="ADAL" clId="{5F87A5E2-C2A2-4F23-BC8C-28F7F5EA6CA7}" dt="2024-03-30T23:03:49.391" v="15600" actId="478"/>
          <ac:spMkLst>
            <pc:docMk/>
            <pc:sldMk cId="3092258524" sldId="2147376821"/>
            <ac:spMk id="15" creationId="{7A6E3E9F-C1BA-82DF-8EC7-72D525BDB8A2}"/>
          </ac:spMkLst>
        </pc:spChg>
        <pc:spChg chg="add del mod">
          <ac:chgData name="Clark, Connie" userId="73351e60-ad32-4085-a232-1d9f9b189479" providerId="ADAL" clId="{5F87A5E2-C2A2-4F23-BC8C-28F7F5EA6CA7}" dt="2024-03-31T01:47:11.498" v="17602"/>
          <ac:spMkLst>
            <pc:docMk/>
            <pc:sldMk cId="3092258524" sldId="2147376821"/>
            <ac:spMk id="15" creationId="{8E94D90C-4F6F-8DDF-C724-AB46EAF85B80}"/>
          </ac:spMkLst>
        </pc:spChg>
        <pc:spChg chg="del">
          <ac:chgData name="Clark, Connie" userId="73351e60-ad32-4085-a232-1d9f9b189479" providerId="ADAL" clId="{5F87A5E2-C2A2-4F23-BC8C-28F7F5EA6CA7}" dt="2024-03-30T23:03:53.498" v="15601" actId="478"/>
          <ac:spMkLst>
            <pc:docMk/>
            <pc:sldMk cId="3092258524" sldId="2147376821"/>
            <ac:spMk id="16" creationId="{A4D21ED5-E00E-AA3C-FC40-7F2352EFD271}"/>
          </ac:spMkLst>
        </pc:spChg>
        <pc:spChg chg="del">
          <ac:chgData name="Clark, Connie" userId="73351e60-ad32-4085-a232-1d9f9b189479" providerId="ADAL" clId="{5F87A5E2-C2A2-4F23-BC8C-28F7F5EA6CA7}" dt="2024-03-30T23:04:03.849" v="15602" actId="478"/>
          <ac:spMkLst>
            <pc:docMk/>
            <pc:sldMk cId="3092258524" sldId="2147376821"/>
            <ac:spMk id="17" creationId="{BD0FFEEB-E84E-CF26-FEDE-8815ED8CF0C8}"/>
          </ac:spMkLst>
        </pc:spChg>
        <pc:spChg chg="del">
          <ac:chgData name="Clark, Connie" userId="73351e60-ad32-4085-a232-1d9f9b189479" providerId="ADAL" clId="{5F87A5E2-C2A2-4F23-BC8C-28F7F5EA6CA7}" dt="2024-03-30T23:03:33.011" v="15597" actId="478"/>
          <ac:spMkLst>
            <pc:docMk/>
            <pc:sldMk cId="3092258524" sldId="2147376821"/>
            <ac:spMk id="18" creationId="{2818BEF2-E1A4-07D0-2D11-06AFB0C4086C}"/>
          </ac:spMkLst>
        </pc:spChg>
        <pc:spChg chg="mod">
          <ac:chgData name="Clark, Connie" userId="73351e60-ad32-4085-a232-1d9f9b189479" providerId="ADAL" clId="{5F87A5E2-C2A2-4F23-BC8C-28F7F5EA6CA7}" dt="2024-03-31T01:54:23.117" v="17679" actId="2085"/>
          <ac:spMkLst>
            <pc:docMk/>
            <pc:sldMk cId="3092258524" sldId="2147376821"/>
            <ac:spMk id="19" creationId="{EB1B145D-C6D0-7636-B993-3B67735A0205}"/>
          </ac:spMkLst>
        </pc:spChg>
        <pc:spChg chg="del">
          <ac:chgData name="Clark, Connie" userId="73351e60-ad32-4085-a232-1d9f9b189479" providerId="ADAL" clId="{5F87A5E2-C2A2-4F23-BC8C-28F7F5EA6CA7}" dt="2024-03-30T23:03:33.011" v="15597" actId="478"/>
          <ac:spMkLst>
            <pc:docMk/>
            <pc:sldMk cId="3092258524" sldId="2147376821"/>
            <ac:spMk id="20" creationId="{DB168371-F68D-6654-648F-DE4DA10B0450}"/>
          </ac:spMkLst>
        </pc:spChg>
        <pc:spChg chg="del">
          <ac:chgData name="Clark, Connie" userId="73351e60-ad32-4085-a232-1d9f9b189479" providerId="ADAL" clId="{5F87A5E2-C2A2-4F23-BC8C-28F7F5EA6CA7}" dt="2024-03-30T23:03:48.551" v="15599" actId="478"/>
          <ac:spMkLst>
            <pc:docMk/>
            <pc:sldMk cId="3092258524" sldId="2147376821"/>
            <ac:spMk id="21" creationId="{904878E7-8B42-C1D3-EA10-0860033F445A}"/>
          </ac:spMkLst>
        </pc:spChg>
        <pc:spChg chg="del">
          <ac:chgData name="Clark, Connie" userId="73351e60-ad32-4085-a232-1d9f9b189479" providerId="ADAL" clId="{5F87A5E2-C2A2-4F23-BC8C-28F7F5EA6CA7}" dt="2024-03-30T23:04:03.849" v="15602" actId="478"/>
          <ac:spMkLst>
            <pc:docMk/>
            <pc:sldMk cId="3092258524" sldId="2147376821"/>
            <ac:spMk id="22" creationId="{C85986E0-8E62-180F-59E8-2E6514703B33}"/>
          </ac:spMkLst>
        </pc:spChg>
        <pc:spChg chg="del">
          <ac:chgData name="Clark, Connie" userId="73351e60-ad32-4085-a232-1d9f9b189479" providerId="ADAL" clId="{5F87A5E2-C2A2-4F23-BC8C-28F7F5EA6CA7}" dt="2024-03-30T23:04:03.849" v="15602" actId="478"/>
          <ac:spMkLst>
            <pc:docMk/>
            <pc:sldMk cId="3092258524" sldId="2147376821"/>
            <ac:spMk id="23" creationId="{92750208-15EA-7165-A9B3-FE75BE9730BE}"/>
          </ac:spMkLst>
        </pc:spChg>
        <pc:spChg chg="del">
          <ac:chgData name="Clark, Connie" userId="73351e60-ad32-4085-a232-1d9f9b189479" providerId="ADAL" clId="{5F87A5E2-C2A2-4F23-BC8C-28F7F5EA6CA7}" dt="2024-03-30T23:04:03.849" v="15602" actId="478"/>
          <ac:spMkLst>
            <pc:docMk/>
            <pc:sldMk cId="3092258524" sldId="2147376821"/>
            <ac:spMk id="24" creationId="{DB9A2D5B-411B-D9CA-5C58-DA9F57A5A180}"/>
          </ac:spMkLst>
        </pc:spChg>
        <pc:spChg chg="del">
          <ac:chgData name="Clark, Connie" userId="73351e60-ad32-4085-a232-1d9f9b189479" providerId="ADAL" clId="{5F87A5E2-C2A2-4F23-BC8C-28F7F5EA6CA7}" dt="2024-03-30T23:04:03.849" v="15602" actId="478"/>
          <ac:spMkLst>
            <pc:docMk/>
            <pc:sldMk cId="3092258524" sldId="2147376821"/>
            <ac:spMk id="25" creationId="{16A1677D-7C5E-424B-12DF-9CA1850253CF}"/>
          </ac:spMkLst>
        </pc:spChg>
        <pc:spChg chg="del mod">
          <ac:chgData name="Clark, Connie" userId="73351e60-ad32-4085-a232-1d9f9b189479" providerId="ADAL" clId="{5F87A5E2-C2A2-4F23-BC8C-28F7F5EA6CA7}" dt="2024-03-30T23:26:48.487" v="15726" actId="478"/>
          <ac:spMkLst>
            <pc:docMk/>
            <pc:sldMk cId="3092258524" sldId="2147376821"/>
            <ac:spMk id="26" creationId="{84E85BB3-6FE5-E193-2682-C2D3CBBB7748}"/>
          </ac:spMkLst>
        </pc:spChg>
        <pc:spChg chg="del">
          <ac:chgData name="Clark, Connie" userId="73351e60-ad32-4085-a232-1d9f9b189479" providerId="ADAL" clId="{5F87A5E2-C2A2-4F23-BC8C-28F7F5EA6CA7}" dt="2024-03-30T23:03:53.498" v="15601" actId="478"/>
          <ac:spMkLst>
            <pc:docMk/>
            <pc:sldMk cId="3092258524" sldId="2147376821"/>
            <ac:spMk id="27" creationId="{4513018C-05B1-92A4-5B8F-3DC5328C406B}"/>
          </ac:spMkLst>
        </pc:spChg>
        <pc:spChg chg="mod">
          <ac:chgData name="Clark, Connie" userId="73351e60-ad32-4085-a232-1d9f9b189479" providerId="ADAL" clId="{5F87A5E2-C2A2-4F23-BC8C-28F7F5EA6CA7}" dt="2024-03-31T04:04:05.497" v="19505" actId="1076"/>
          <ac:spMkLst>
            <pc:docMk/>
            <pc:sldMk cId="3092258524" sldId="2147376821"/>
            <ac:spMk id="28" creationId="{1F8DDD3D-F18B-23CB-BD17-0E093682ED6F}"/>
          </ac:spMkLst>
        </pc:spChg>
        <pc:spChg chg="add del">
          <ac:chgData name="Clark, Connie" userId="73351e60-ad32-4085-a232-1d9f9b189479" providerId="ADAL" clId="{5F87A5E2-C2A2-4F23-BC8C-28F7F5EA6CA7}" dt="2024-03-30T23:26:10.831" v="15710" actId="22"/>
          <ac:spMkLst>
            <pc:docMk/>
            <pc:sldMk cId="3092258524" sldId="2147376821"/>
            <ac:spMk id="30" creationId="{7D2A7551-95BF-410E-C80E-3891C00B5E03}"/>
          </ac:spMkLst>
        </pc:spChg>
        <pc:spChg chg="add mod">
          <ac:chgData name="Clark, Connie" userId="73351e60-ad32-4085-a232-1d9f9b189479" providerId="ADAL" clId="{5F87A5E2-C2A2-4F23-BC8C-28F7F5EA6CA7}" dt="2024-03-31T01:49:39.128" v="17611" actId="207"/>
          <ac:spMkLst>
            <pc:docMk/>
            <pc:sldMk cId="3092258524" sldId="2147376821"/>
            <ac:spMk id="64" creationId="{0DFDE0AA-29C9-B8FA-8916-9D0067E07CE2}"/>
          </ac:spMkLst>
        </pc:spChg>
        <pc:spChg chg="add del mod">
          <ac:chgData name="Clark, Connie" userId="73351e60-ad32-4085-a232-1d9f9b189479" providerId="ADAL" clId="{5F87A5E2-C2A2-4F23-BC8C-28F7F5EA6CA7}" dt="2024-03-30T23:32:21.611" v="15811"/>
          <ac:spMkLst>
            <pc:docMk/>
            <pc:sldMk cId="3092258524" sldId="2147376821"/>
            <ac:spMk id="65" creationId="{2C57EA03-4655-8266-4DBF-B525803DE598}"/>
          </ac:spMkLst>
        </pc:spChg>
        <pc:spChg chg="add del mod">
          <ac:chgData name="Clark, Connie" userId="73351e60-ad32-4085-a232-1d9f9b189479" providerId="ADAL" clId="{5F87A5E2-C2A2-4F23-BC8C-28F7F5EA6CA7}" dt="2024-03-30T23:32:21.611" v="15811"/>
          <ac:spMkLst>
            <pc:docMk/>
            <pc:sldMk cId="3092258524" sldId="2147376821"/>
            <ac:spMk id="66" creationId="{6C87FF4D-BD00-6A98-E0CA-6F43ED02E6DD}"/>
          </ac:spMkLst>
        </pc:spChg>
        <pc:spChg chg="add del mod">
          <ac:chgData name="Clark, Connie" userId="73351e60-ad32-4085-a232-1d9f9b189479" providerId="ADAL" clId="{5F87A5E2-C2A2-4F23-BC8C-28F7F5EA6CA7}" dt="2024-03-30T23:32:21.611" v="15811"/>
          <ac:spMkLst>
            <pc:docMk/>
            <pc:sldMk cId="3092258524" sldId="2147376821"/>
            <ac:spMk id="67" creationId="{1725E2CC-AF47-4C08-A8BA-6A48D5583ECD}"/>
          </ac:spMkLst>
        </pc:spChg>
        <pc:spChg chg="add mod">
          <ac:chgData name="Clark, Connie" userId="73351e60-ad32-4085-a232-1d9f9b189479" providerId="ADAL" clId="{5F87A5E2-C2A2-4F23-BC8C-28F7F5EA6CA7}" dt="2024-03-31T01:55:31.578" v="17682" actId="255"/>
          <ac:spMkLst>
            <pc:docMk/>
            <pc:sldMk cId="3092258524" sldId="2147376821"/>
            <ac:spMk id="69" creationId="{0D07FC9A-B1CC-CA6C-EE39-221297A3EF03}"/>
          </ac:spMkLst>
        </pc:spChg>
        <pc:spChg chg="add mod">
          <ac:chgData name="Clark, Connie" userId="73351e60-ad32-4085-a232-1d9f9b189479" providerId="ADAL" clId="{5F87A5E2-C2A2-4F23-BC8C-28F7F5EA6CA7}" dt="2024-03-31T01:55:26.395" v="17681" actId="1076"/>
          <ac:spMkLst>
            <pc:docMk/>
            <pc:sldMk cId="3092258524" sldId="2147376821"/>
            <ac:spMk id="70" creationId="{43F6EEFE-02AC-9A96-3E9B-147A15E8CC1B}"/>
          </ac:spMkLst>
        </pc:spChg>
        <pc:spChg chg="add del mod">
          <ac:chgData name="Clark, Connie" userId="73351e60-ad32-4085-a232-1d9f9b189479" providerId="ADAL" clId="{5F87A5E2-C2A2-4F23-BC8C-28F7F5EA6CA7}" dt="2024-03-30T23:42:21.167" v="15880" actId="478"/>
          <ac:spMkLst>
            <pc:docMk/>
            <pc:sldMk cId="3092258524" sldId="2147376821"/>
            <ac:spMk id="71" creationId="{E3A42229-89C7-4022-FF83-616891FFBA52}"/>
          </ac:spMkLst>
        </pc:spChg>
        <pc:spChg chg="add del mod">
          <ac:chgData name="Clark, Connie" userId="73351e60-ad32-4085-a232-1d9f9b189479" providerId="ADAL" clId="{5F87A5E2-C2A2-4F23-BC8C-28F7F5EA6CA7}" dt="2024-03-30T23:44:04.024" v="16184" actId="478"/>
          <ac:spMkLst>
            <pc:docMk/>
            <pc:sldMk cId="3092258524" sldId="2147376821"/>
            <ac:spMk id="73" creationId="{2DD0F94E-FA98-5409-005E-2D4A3397D4F6}"/>
          </ac:spMkLst>
        </pc:spChg>
        <pc:spChg chg="add mod">
          <ac:chgData name="Clark, Connie" userId="73351e60-ad32-4085-a232-1d9f9b189479" providerId="ADAL" clId="{5F87A5E2-C2A2-4F23-BC8C-28F7F5EA6CA7}" dt="2024-03-31T03:07:31.298" v="18642" actId="20577"/>
          <ac:spMkLst>
            <pc:docMk/>
            <pc:sldMk cId="3092258524" sldId="2147376821"/>
            <ac:spMk id="75" creationId="{95E304D0-A898-DF00-8C3F-1CE5A42267C0}"/>
          </ac:spMkLst>
        </pc:spChg>
        <pc:spChg chg="add del mod">
          <ac:chgData name="Clark, Connie" userId="73351e60-ad32-4085-a232-1d9f9b189479" providerId="ADAL" clId="{5F87A5E2-C2A2-4F23-BC8C-28F7F5EA6CA7}" dt="2024-03-30T23:44:06.437" v="16185" actId="478"/>
          <ac:spMkLst>
            <pc:docMk/>
            <pc:sldMk cId="3092258524" sldId="2147376821"/>
            <ac:spMk id="76" creationId="{C583D595-8512-A648-918E-02EFACA15083}"/>
          </ac:spMkLst>
        </pc:spChg>
        <pc:spChg chg="add mod">
          <ac:chgData name="Clark, Connie" userId="73351e60-ad32-4085-a232-1d9f9b189479" providerId="ADAL" clId="{5F87A5E2-C2A2-4F23-BC8C-28F7F5EA6CA7}" dt="2024-03-31T01:49:39.128" v="17611" actId="207"/>
          <ac:spMkLst>
            <pc:docMk/>
            <pc:sldMk cId="3092258524" sldId="2147376821"/>
            <ac:spMk id="78" creationId="{159BC980-2AD9-21E8-6DE6-F3CDC0B8E3E4}"/>
          </ac:spMkLst>
        </pc:spChg>
        <pc:spChg chg="add mod">
          <ac:chgData name="Clark, Connie" userId="73351e60-ad32-4085-a232-1d9f9b189479" providerId="ADAL" clId="{5F87A5E2-C2A2-4F23-BC8C-28F7F5EA6CA7}" dt="2024-03-31T01:47:01.440" v="17600" actId="1076"/>
          <ac:spMkLst>
            <pc:docMk/>
            <pc:sldMk cId="3092258524" sldId="2147376821"/>
            <ac:spMk id="79" creationId="{23F9E6E0-8369-9B40-1A2C-9CA6D0B0E24E}"/>
          </ac:spMkLst>
        </pc:spChg>
        <pc:spChg chg="add mod">
          <ac:chgData name="Clark, Connie" userId="73351e60-ad32-4085-a232-1d9f9b189479" providerId="ADAL" clId="{5F87A5E2-C2A2-4F23-BC8C-28F7F5EA6CA7}" dt="2024-03-31T01:47:01.440" v="17600" actId="1076"/>
          <ac:spMkLst>
            <pc:docMk/>
            <pc:sldMk cId="3092258524" sldId="2147376821"/>
            <ac:spMk id="80" creationId="{CD9DE51C-3B05-ED4A-3D77-633CC5747F76}"/>
          </ac:spMkLst>
        </pc:spChg>
        <pc:picChg chg="add mod">
          <ac:chgData name="Clark, Connie" userId="73351e60-ad32-4085-a232-1d9f9b189479" providerId="ADAL" clId="{5F87A5E2-C2A2-4F23-BC8C-28F7F5EA6CA7}" dt="2024-03-31T01:49:06.692" v="17608" actId="207"/>
          <ac:picMkLst>
            <pc:docMk/>
            <pc:sldMk cId="3092258524" sldId="2147376821"/>
            <ac:picMk id="3" creationId="{EE807C51-8112-39B4-095D-E055E8137D98}"/>
          </ac:picMkLst>
        </pc:picChg>
        <pc:picChg chg="add mod">
          <ac:chgData name="Clark, Connie" userId="73351e60-ad32-4085-a232-1d9f9b189479" providerId="ADAL" clId="{5F87A5E2-C2A2-4F23-BC8C-28F7F5EA6CA7}" dt="2024-03-31T01:49:13.849" v="17609" actId="207"/>
          <ac:picMkLst>
            <pc:docMk/>
            <pc:sldMk cId="3092258524" sldId="2147376821"/>
            <ac:picMk id="5" creationId="{E6AF5ABD-B2B7-C00C-0272-F16FD4B23E7E}"/>
          </ac:picMkLst>
        </pc:picChg>
        <pc:picChg chg="add del mod">
          <ac:chgData name="Clark, Connie" userId="73351e60-ad32-4085-a232-1d9f9b189479" providerId="ADAL" clId="{5F87A5E2-C2A2-4F23-BC8C-28F7F5EA6CA7}" dt="2024-03-30T23:14:01.734" v="15671"/>
          <ac:picMkLst>
            <pc:docMk/>
            <pc:sldMk cId="3092258524" sldId="2147376821"/>
            <ac:picMk id="6" creationId="{250F7B69-5335-2173-E96E-0A84E4914DF6}"/>
          </ac:picMkLst>
        </pc:picChg>
        <pc:picChg chg="add del mod">
          <ac:chgData name="Clark, Connie" userId="73351e60-ad32-4085-a232-1d9f9b189479" providerId="ADAL" clId="{5F87A5E2-C2A2-4F23-BC8C-28F7F5EA6CA7}" dt="2024-03-31T00:29:17.265" v="16438" actId="478"/>
          <ac:picMkLst>
            <pc:docMk/>
            <pc:sldMk cId="3092258524" sldId="2147376821"/>
            <ac:picMk id="10" creationId="{7B8C7287-C7BC-FA1A-ED5B-955CAF244246}"/>
          </ac:picMkLst>
        </pc:picChg>
        <pc:picChg chg="add del mod">
          <ac:chgData name="Clark, Connie" userId="73351e60-ad32-4085-a232-1d9f9b189479" providerId="ADAL" clId="{5F87A5E2-C2A2-4F23-BC8C-28F7F5EA6CA7}" dt="2024-03-31T04:02:28.958" v="19486" actId="478"/>
          <ac:picMkLst>
            <pc:docMk/>
            <pc:sldMk cId="3092258524" sldId="2147376821"/>
            <ac:picMk id="16" creationId="{2C18398A-1F11-0D85-2A7E-D12750BF5892}"/>
          </ac:picMkLst>
        </pc:picChg>
        <pc:picChg chg="add del mod">
          <ac:chgData name="Clark, Connie" userId="73351e60-ad32-4085-a232-1d9f9b189479" providerId="ADAL" clId="{5F87A5E2-C2A2-4F23-BC8C-28F7F5EA6CA7}" dt="2024-03-31T04:03:51.446" v="19502" actId="478"/>
          <ac:picMkLst>
            <pc:docMk/>
            <pc:sldMk cId="3092258524" sldId="2147376821"/>
            <ac:picMk id="17" creationId="{0F8544FB-4B22-56ED-E123-0DFA23F53AC1}"/>
          </ac:picMkLst>
        </pc:picChg>
        <pc:picChg chg="add mod">
          <ac:chgData name="Clark, Connie" userId="73351e60-ad32-4085-a232-1d9f9b189479" providerId="ADAL" clId="{5F87A5E2-C2A2-4F23-BC8C-28F7F5EA6CA7}" dt="2024-03-31T04:03:57.743" v="19504"/>
          <ac:picMkLst>
            <pc:docMk/>
            <pc:sldMk cId="3092258524" sldId="2147376821"/>
            <ac:picMk id="18" creationId="{0D21205A-DD4F-BFBD-C569-40A57A71ECC0}"/>
          </ac:picMkLst>
        </pc:picChg>
        <pc:picChg chg="add del mod">
          <ac:chgData name="Clark, Connie" userId="73351e60-ad32-4085-a232-1d9f9b189479" providerId="ADAL" clId="{5F87A5E2-C2A2-4F23-BC8C-28F7F5EA6CA7}" dt="2024-03-31T00:10:58.681" v="16419" actId="478"/>
          <ac:picMkLst>
            <pc:docMk/>
            <pc:sldMk cId="3092258524" sldId="2147376821"/>
            <ac:picMk id="68" creationId="{0234B95F-D7E9-933C-4336-E7537E4B66A4}"/>
          </ac:picMkLst>
        </pc:picChg>
        <pc:picChg chg="del">
          <ac:chgData name="Clark, Connie" userId="73351e60-ad32-4085-a232-1d9f9b189479" providerId="ADAL" clId="{5F87A5E2-C2A2-4F23-BC8C-28F7F5EA6CA7}" dt="2024-03-30T23:32:28.791" v="15815" actId="478"/>
          <ac:picMkLst>
            <pc:docMk/>
            <pc:sldMk cId="3092258524" sldId="2147376821"/>
            <ac:picMk id="72" creationId="{5B6B67DC-4F14-EFCC-3CF9-CC7CBD07C692}"/>
          </ac:picMkLst>
        </pc:picChg>
        <pc:picChg chg="add mod">
          <ac:chgData name="Clark, Connie" userId="73351e60-ad32-4085-a232-1d9f9b189479" providerId="ADAL" clId="{5F87A5E2-C2A2-4F23-BC8C-28F7F5EA6CA7}" dt="2024-03-31T01:49:19.654" v="17610" actId="207"/>
          <ac:picMkLst>
            <pc:docMk/>
            <pc:sldMk cId="3092258524" sldId="2147376821"/>
            <ac:picMk id="74" creationId="{280B34D1-3656-1291-1C5B-B12CC2C891F8}"/>
          </ac:picMkLst>
        </pc:picChg>
        <pc:picChg chg="add del mod">
          <ac:chgData name="Clark, Connie" userId="73351e60-ad32-4085-a232-1d9f9b189479" providerId="ADAL" clId="{5F87A5E2-C2A2-4F23-BC8C-28F7F5EA6CA7}" dt="2024-03-31T00:43:33.690" v="16441" actId="478"/>
          <ac:picMkLst>
            <pc:docMk/>
            <pc:sldMk cId="3092258524" sldId="2147376821"/>
            <ac:picMk id="77" creationId="{683F5ED5-F4D5-844B-073E-076090237515}"/>
          </ac:picMkLst>
        </pc:picChg>
        <pc:picChg chg="add del mod">
          <ac:chgData name="Clark, Connie" userId="73351e60-ad32-4085-a232-1d9f9b189479" providerId="ADAL" clId="{5F87A5E2-C2A2-4F23-BC8C-28F7F5EA6CA7}" dt="2024-03-31T04:02:18.995" v="19482" actId="478"/>
          <ac:picMkLst>
            <pc:docMk/>
            <pc:sldMk cId="3092258524" sldId="2147376821"/>
            <ac:picMk id="91" creationId="{AC2B28B8-5F1D-DB0B-0E50-11C608D54EF3}"/>
          </ac:picMkLst>
        </pc:picChg>
        <pc:cxnChg chg="add mod">
          <ac:chgData name="Clark, Connie" userId="73351e60-ad32-4085-a232-1d9f9b189479" providerId="ADAL" clId="{5F87A5E2-C2A2-4F23-BC8C-28F7F5EA6CA7}" dt="2024-03-31T01:47:01.440" v="17600" actId="1076"/>
          <ac:cxnSpMkLst>
            <pc:docMk/>
            <pc:sldMk cId="3092258524" sldId="2147376821"/>
            <ac:cxnSpMk id="8" creationId="{AE7BBB2A-25D5-EA97-66FC-1825913DB53D}"/>
          </ac:cxnSpMkLst>
        </pc:cxnChg>
        <pc:cxnChg chg="add del mod">
          <ac:chgData name="Clark, Connie" userId="73351e60-ad32-4085-a232-1d9f9b189479" providerId="ADAL" clId="{5F87A5E2-C2A2-4F23-BC8C-28F7F5EA6CA7}" dt="2024-03-31T00:57:18.901" v="16756"/>
          <ac:cxnSpMkLst>
            <pc:docMk/>
            <pc:sldMk cId="3092258524" sldId="2147376821"/>
            <ac:cxnSpMk id="11" creationId="{A464C242-286D-43CC-FA4E-6EA394189BBB}"/>
          </ac:cxnSpMkLst>
        </pc:cxnChg>
        <pc:cxnChg chg="add mod">
          <ac:chgData name="Clark, Connie" userId="73351e60-ad32-4085-a232-1d9f9b189479" providerId="ADAL" clId="{5F87A5E2-C2A2-4F23-BC8C-28F7F5EA6CA7}" dt="2024-03-31T01:47:01.440" v="17600" actId="1076"/>
          <ac:cxnSpMkLst>
            <pc:docMk/>
            <pc:sldMk cId="3092258524" sldId="2147376821"/>
            <ac:cxnSpMk id="82" creationId="{6AD8AE18-4C39-E1DD-680F-2A4F235D2CCF}"/>
          </ac:cxnSpMkLst>
        </pc:cxnChg>
        <pc:cxnChg chg="add del mod">
          <ac:chgData name="Clark, Connie" userId="73351e60-ad32-4085-a232-1d9f9b189479" providerId="ADAL" clId="{5F87A5E2-C2A2-4F23-BC8C-28F7F5EA6CA7}" dt="2024-03-31T00:04:54.259" v="16416" actId="478"/>
          <ac:cxnSpMkLst>
            <pc:docMk/>
            <pc:sldMk cId="3092258524" sldId="2147376821"/>
            <ac:cxnSpMk id="83" creationId="{A1B90624-926C-9466-DB20-70929ED5FEF8}"/>
          </ac:cxnSpMkLst>
        </pc:cxnChg>
        <pc:cxnChg chg="add mod">
          <ac:chgData name="Clark, Connie" userId="73351e60-ad32-4085-a232-1d9f9b189479" providerId="ADAL" clId="{5F87A5E2-C2A2-4F23-BC8C-28F7F5EA6CA7}" dt="2024-03-31T01:47:01.440" v="17600" actId="1076"/>
          <ac:cxnSpMkLst>
            <pc:docMk/>
            <pc:sldMk cId="3092258524" sldId="2147376821"/>
            <ac:cxnSpMk id="87" creationId="{9FA73BAC-717C-728C-0C29-7B68E0ED3A4A}"/>
          </ac:cxnSpMkLst>
        </pc:cxnChg>
        <pc:cxnChg chg="add del mod">
          <ac:chgData name="Clark, Connie" userId="73351e60-ad32-4085-a232-1d9f9b189479" providerId="ADAL" clId="{5F87A5E2-C2A2-4F23-BC8C-28F7F5EA6CA7}" dt="2024-03-31T00:55:29.858" v="16747" actId="478"/>
          <ac:cxnSpMkLst>
            <pc:docMk/>
            <pc:sldMk cId="3092258524" sldId="2147376821"/>
            <ac:cxnSpMk id="88" creationId="{AF1F2984-9DD6-C955-AD61-E769390EACAF}"/>
          </ac:cxnSpMkLst>
        </pc:cxnChg>
        <pc:cxnChg chg="add mod">
          <ac:chgData name="Clark, Connie" userId="73351e60-ad32-4085-a232-1d9f9b189479" providerId="ADAL" clId="{5F87A5E2-C2A2-4F23-BC8C-28F7F5EA6CA7}" dt="2024-03-31T01:47:01.440" v="17600" actId="1076"/>
          <ac:cxnSpMkLst>
            <pc:docMk/>
            <pc:sldMk cId="3092258524" sldId="2147376821"/>
            <ac:cxnSpMk id="90" creationId="{7A6D06E0-9716-1F31-4429-DB2CBD129244}"/>
          </ac:cxnSpMkLst>
        </pc:cxnChg>
      </pc:sldChg>
      <pc:sldChg chg="addSp delSp modSp add del mod">
        <pc:chgData name="Clark, Connie" userId="73351e60-ad32-4085-a232-1d9f9b189479" providerId="ADAL" clId="{5F87A5E2-C2A2-4F23-BC8C-28F7F5EA6CA7}" dt="2024-03-31T00:57:59.551" v="16761" actId="47"/>
        <pc:sldMkLst>
          <pc:docMk/>
          <pc:sldMk cId="1377068351" sldId="2147376822"/>
        </pc:sldMkLst>
        <pc:spChg chg="del">
          <ac:chgData name="Clark, Connie" userId="73351e60-ad32-4085-a232-1d9f9b189479" providerId="ADAL" clId="{5F87A5E2-C2A2-4F23-BC8C-28F7F5EA6CA7}" dt="2024-03-30T22:49:37.144" v="15530" actId="478"/>
          <ac:spMkLst>
            <pc:docMk/>
            <pc:sldMk cId="1377068351" sldId="2147376822"/>
            <ac:spMk id="12" creationId="{427D2316-FBCB-3F26-D6A0-909175C12EF2}"/>
          </ac:spMkLst>
        </pc:spChg>
        <pc:spChg chg="del">
          <ac:chgData name="Clark, Connie" userId="73351e60-ad32-4085-a232-1d9f9b189479" providerId="ADAL" clId="{5F87A5E2-C2A2-4F23-BC8C-28F7F5EA6CA7}" dt="2024-03-30T22:49:37.144" v="15530" actId="478"/>
          <ac:spMkLst>
            <pc:docMk/>
            <pc:sldMk cId="1377068351" sldId="2147376822"/>
            <ac:spMk id="13" creationId="{A9D73DFA-9E11-88EA-6A88-6E9AFBA7D6A7}"/>
          </ac:spMkLst>
        </pc:spChg>
        <pc:spChg chg="del">
          <ac:chgData name="Clark, Connie" userId="73351e60-ad32-4085-a232-1d9f9b189479" providerId="ADAL" clId="{5F87A5E2-C2A2-4F23-BC8C-28F7F5EA6CA7}" dt="2024-03-30T22:49:37.144" v="15530" actId="478"/>
          <ac:spMkLst>
            <pc:docMk/>
            <pc:sldMk cId="1377068351" sldId="2147376822"/>
            <ac:spMk id="14" creationId="{A3B3190F-9A64-B503-CDEC-F7B2BE953EB9}"/>
          </ac:spMkLst>
        </pc:spChg>
        <pc:spChg chg="del">
          <ac:chgData name="Clark, Connie" userId="73351e60-ad32-4085-a232-1d9f9b189479" providerId="ADAL" clId="{5F87A5E2-C2A2-4F23-BC8C-28F7F5EA6CA7}" dt="2024-03-30T22:49:37.144" v="15530" actId="478"/>
          <ac:spMkLst>
            <pc:docMk/>
            <pc:sldMk cId="1377068351" sldId="2147376822"/>
            <ac:spMk id="15" creationId="{7A6E3E9F-C1BA-82DF-8EC7-72D525BDB8A2}"/>
          </ac:spMkLst>
        </pc:spChg>
        <pc:spChg chg="del">
          <ac:chgData name="Clark, Connie" userId="73351e60-ad32-4085-a232-1d9f9b189479" providerId="ADAL" clId="{5F87A5E2-C2A2-4F23-BC8C-28F7F5EA6CA7}" dt="2024-03-30T22:49:37.144" v="15530" actId="478"/>
          <ac:spMkLst>
            <pc:docMk/>
            <pc:sldMk cId="1377068351" sldId="2147376822"/>
            <ac:spMk id="16" creationId="{A4D21ED5-E00E-AA3C-FC40-7F2352EFD271}"/>
          </ac:spMkLst>
        </pc:spChg>
        <pc:spChg chg="del">
          <ac:chgData name="Clark, Connie" userId="73351e60-ad32-4085-a232-1d9f9b189479" providerId="ADAL" clId="{5F87A5E2-C2A2-4F23-BC8C-28F7F5EA6CA7}" dt="2024-03-30T22:49:37.144" v="15530" actId="478"/>
          <ac:spMkLst>
            <pc:docMk/>
            <pc:sldMk cId="1377068351" sldId="2147376822"/>
            <ac:spMk id="17" creationId="{BD0FFEEB-E84E-CF26-FEDE-8815ED8CF0C8}"/>
          </ac:spMkLst>
        </pc:spChg>
        <pc:spChg chg="del">
          <ac:chgData name="Clark, Connie" userId="73351e60-ad32-4085-a232-1d9f9b189479" providerId="ADAL" clId="{5F87A5E2-C2A2-4F23-BC8C-28F7F5EA6CA7}" dt="2024-03-30T22:49:37.144" v="15530" actId="478"/>
          <ac:spMkLst>
            <pc:docMk/>
            <pc:sldMk cId="1377068351" sldId="2147376822"/>
            <ac:spMk id="18" creationId="{2818BEF2-E1A4-07D0-2D11-06AFB0C4086C}"/>
          </ac:spMkLst>
        </pc:spChg>
        <pc:spChg chg="del">
          <ac:chgData name="Clark, Connie" userId="73351e60-ad32-4085-a232-1d9f9b189479" providerId="ADAL" clId="{5F87A5E2-C2A2-4F23-BC8C-28F7F5EA6CA7}" dt="2024-03-30T22:49:44.486" v="15531" actId="478"/>
          <ac:spMkLst>
            <pc:docMk/>
            <pc:sldMk cId="1377068351" sldId="2147376822"/>
            <ac:spMk id="20" creationId="{DB168371-F68D-6654-648F-DE4DA10B0450}"/>
          </ac:spMkLst>
        </pc:spChg>
        <pc:spChg chg="del">
          <ac:chgData name="Clark, Connie" userId="73351e60-ad32-4085-a232-1d9f9b189479" providerId="ADAL" clId="{5F87A5E2-C2A2-4F23-BC8C-28F7F5EA6CA7}" dt="2024-03-30T22:49:44.486" v="15531" actId="478"/>
          <ac:spMkLst>
            <pc:docMk/>
            <pc:sldMk cId="1377068351" sldId="2147376822"/>
            <ac:spMk id="21" creationId="{904878E7-8B42-C1D3-EA10-0860033F445A}"/>
          </ac:spMkLst>
        </pc:spChg>
        <pc:spChg chg="del">
          <ac:chgData name="Clark, Connie" userId="73351e60-ad32-4085-a232-1d9f9b189479" providerId="ADAL" clId="{5F87A5E2-C2A2-4F23-BC8C-28F7F5EA6CA7}" dt="2024-03-30T22:49:44.486" v="15531" actId="478"/>
          <ac:spMkLst>
            <pc:docMk/>
            <pc:sldMk cId="1377068351" sldId="2147376822"/>
            <ac:spMk id="22" creationId="{C85986E0-8E62-180F-59E8-2E6514703B33}"/>
          </ac:spMkLst>
        </pc:spChg>
        <pc:spChg chg="del">
          <ac:chgData name="Clark, Connie" userId="73351e60-ad32-4085-a232-1d9f9b189479" providerId="ADAL" clId="{5F87A5E2-C2A2-4F23-BC8C-28F7F5EA6CA7}" dt="2024-03-30T22:49:37.144" v="15530" actId="478"/>
          <ac:spMkLst>
            <pc:docMk/>
            <pc:sldMk cId="1377068351" sldId="2147376822"/>
            <ac:spMk id="23" creationId="{92750208-15EA-7165-A9B3-FE75BE9730BE}"/>
          </ac:spMkLst>
        </pc:spChg>
        <pc:spChg chg="del">
          <ac:chgData name="Clark, Connie" userId="73351e60-ad32-4085-a232-1d9f9b189479" providerId="ADAL" clId="{5F87A5E2-C2A2-4F23-BC8C-28F7F5EA6CA7}" dt="2024-03-30T22:49:37.144" v="15530" actId="478"/>
          <ac:spMkLst>
            <pc:docMk/>
            <pc:sldMk cId="1377068351" sldId="2147376822"/>
            <ac:spMk id="24" creationId="{DB9A2D5B-411B-D9CA-5C58-DA9F57A5A180}"/>
          </ac:spMkLst>
        </pc:spChg>
        <pc:spChg chg="del">
          <ac:chgData name="Clark, Connie" userId="73351e60-ad32-4085-a232-1d9f9b189479" providerId="ADAL" clId="{5F87A5E2-C2A2-4F23-BC8C-28F7F5EA6CA7}" dt="2024-03-30T22:49:37.144" v="15530" actId="478"/>
          <ac:spMkLst>
            <pc:docMk/>
            <pc:sldMk cId="1377068351" sldId="2147376822"/>
            <ac:spMk id="25" creationId="{16A1677D-7C5E-424B-12DF-9CA1850253CF}"/>
          </ac:spMkLst>
        </pc:spChg>
        <pc:spChg chg="del">
          <ac:chgData name="Clark, Connie" userId="73351e60-ad32-4085-a232-1d9f9b189479" providerId="ADAL" clId="{5F87A5E2-C2A2-4F23-BC8C-28F7F5EA6CA7}" dt="2024-03-30T22:49:37.144" v="15530" actId="478"/>
          <ac:spMkLst>
            <pc:docMk/>
            <pc:sldMk cId="1377068351" sldId="2147376822"/>
            <ac:spMk id="26" creationId="{84E85BB3-6FE5-E193-2682-C2D3CBBB7748}"/>
          </ac:spMkLst>
        </pc:spChg>
        <pc:spChg chg="del">
          <ac:chgData name="Clark, Connie" userId="73351e60-ad32-4085-a232-1d9f9b189479" providerId="ADAL" clId="{5F87A5E2-C2A2-4F23-BC8C-28F7F5EA6CA7}" dt="2024-03-30T22:49:37.144" v="15530" actId="478"/>
          <ac:spMkLst>
            <pc:docMk/>
            <pc:sldMk cId="1377068351" sldId="2147376822"/>
            <ac:spMk id="27" creationId="{4513018C-05B1-92A4-5B8F-3DC5328C406B}"/>
          </ac:spMkLst>
        </pc:spChg>
        <pc:picChg chg="add mod">
          <ac:chgData name="Clark, Connie" userId="73351e60-ad32-4085-a232-1d9f9b189479" providerId="ADAL" clId="{5F87A5E2-C2A2-4F23-BC8C-28F7F5EA6CA7}" dt="2024-03-30T23:30:55.236" v="15801"/>
          <ac:picMkLst>
            <pc:docMk/>
            <pc:sldMk cId="1377068351" sldId="2147376822"/>
            <ac:picMk id="2" creationId="{059C86E3-42A9-45BC-7488-A97EDDE8DF37}"/>
          </ac:picMkLst>
        </pc:picChg>
      </pc:sldChg>
      <pc:sldChg chg="modSp add del mod">
        <pc:chgData name="Clark, Connie" userId="73351e60-ad32-4085-a232-1d9f9b189479" providerId="ADAL" clId="{5F87A5E2-C2A2-4F23-BC8C-28F7F5EA6CA7}" dt="2024-03-31T00:57:40.527" v="16757" actId="47"/>
        <pc:sldMkLst>
          <pc:docMk/>
          <pc:sldMk cId="1506748214" sldId="2147376823"/>
        </pc:sldMkLst>
        <pc:spChg chg="mod">
          <ac:chgData name="Clark, Connie" userId="73351e60-ad32-4085-a232-1d9f9b189479" providerId="ADAL" clId="{5F87A5E2-C2A2-4F23-BC8C-28F7F5EA6CA7}" dt="2024-03-30T23:31:44.378" v="15804" actId="20577"/>
          <ac:spMkLst>
            <pc:docMk/>
            <pc:sldMk cId="1506748214" sldId="2147376823"/>
            <ac:spMk id="28" creationId="{1F8DDD3D-F18B-23CB-BD17-0E093682ED6F}"/>
          </ac:spMkLst>
        </pc:spChg>
      </pc:sldChg>
      <pc:sldChg chg="addSp delSp modSp add del mod">
        <pc:chgData name="Clark, Connie" userId="73351e60-ad32-4085-a232-1d9f9b189479" providerId="ADAL" clId="{5F87A5E2-C2A2-4F23-BC8C-28F7F5EA6CA7}" dt="2024-03-31T00:58:03.471" v="16762" actId="47"/>
        <pc:sldMkLst>
          <pc:docMk/>
          <pc:sldMk cId="2665998918" sldId="2147376824"/>
        </pc:sldMkLst>
        <pc:spChg chg="add del mod">
          <ac:chgData name="Clark, Connie" userId="73351e60-ad32-4085-a232-1d9f9b189479" providerId="ADAL" clId="{5F87A5E2-C2A2-4F23-BC8C-28F7F5EA6CA7}" dt="2024-03-30T23:39:13.728" v="15859" actId="478"/>
          <ac:spMkLst>
            <pc:docMk/>
            <pc:sldMk cId="2665998918" sldId="2147376824"/>
            <ac:spMk id="5" creationId="{3031049A-213B-92E1-7BBB-CB75D346B8D7}"/>
          </ac:spMkLst>
        </pc:spChg>
        <pc:spChg chg="add del mod">
          <ac:chgData name="Clark, Connie" userId="73351e60-ad32-4085-a232-1d9f9b189479" providerId="ADAL" clId="{5F87A5E2-C2A2-4F23-BC8C-28F7F5EA6CA7}" dt="2024-03-30T23:39:13.728" v="15859" actId="478"/>
          <ac:spMkLst>
            <pc:docMk/>
            <pc:sldMk cId="2665998918" sldId="2147376824"/>
            <ac:spMk id="6" creationId="{0622E056-0A6D-80B5-BCCD-5CB55BA41D7A}"/>
          </ac:spMkLst>
        </pc:spChg>
        <pc:spChg chg="add del mod">
          <ac:chgData name="Clark, Connie" userId="73351e60-ad32-4085-a232-1d9f9b189479" providerId="ADAL" clId="{5F87A5E2-C2A2-4F23-BC8C-28F7F5EA6CA7}" dt="2024-03-30T23:39:13.728" v="15859" actId="478"/>
          <ac:spMkLst>
            <pc:docMk/>
            <pc:sldMk cId="2665998918" sldId="2147376824"/>
            <ac:spMk id="7" creationId="{B9F9F2EF-8730-8420-CA71-28E9C8324736}"/>
          </ac:spMkLst>
        </pc:spChg>
        <pc:spChg chg="del">
          <ac:chgData name="Clark, Connie" userId="73351e60-ad32-4085-a232-1d9f9b189479" providerId="ADAL" clId="{5F87A5E2-C2A2-4F23-BC8C-28F7F5EA6CA7}" dt="2024-03-30T23:33:14.133" v="15821" actId="478"/>
          <ac:spMkLst>
            <pc:docMk/>
            <pc:sldMk cId="2665998918" sldId="2147376824"/>
            <ac:spMk id="8" creationId="{6D3FA199-8828-B47C-8645-4C096C8B6F2A}"/>
          </ac:spMkLst>
        </pc:spChg>
        <pc:spChg chg="add del mod">
          <ac:chgData name="Clark, Connie" userId="73351e60-ad32-4085-a232-1d9f9b189479" providerId="ADAL" clId="{5F87A5E2-C2A2-4F23-BC8C-28F7F5EA6CA7}" dt="2024-03-30T23:39:13.728" v="15859" actId="478"/>
          <ac:spMkLst>
            <pc:docMk/>
            <pc:sldMk cId="2665998918" sldId="2147376824"/>
            <ac:spMk id="9" creationId="{9F99B60A-8D88-6793-AFCD-D240EBEE836C}"/>
          </ac:spMkLst>
        </pc:spChg>
        <pc:spChg chg="add del mod">
          <ac:chgData name="Clark, Connie" userId="73351e60-ad32-4085-a232-1d9f9b189479" providerId="ADAL" clId="{5F87A5E2-C2A2-4F23-BC8C-28F7F5EA6CA7}" dt="2024-03-30T23:39:13.728" v="15859" actId="478"/>
          <ac:spMkLst>
            <pc:docMk/>
            <pc:sldMk cId="2665998918" sldId="2147376824"/>
            <ac:spMk id="10" creationId="{99A05982-FD4A-A497-1D0B-DDF01CC769C9}"/>
          </ac:spMkLst>
        </pc:spChg>
        <pc:spChg chg="add del mod">
          <ac:chgData name="Clark, Connie" userId="73351e60-ad32-4085-a232-1d9f9b189479" providerId="ADAL" clId="{5F87A5E2-C2A2-4F23-BC8C-28F7F5EA6CA7}" dt="2024-03-30T23:39:13.728" v="15859" actId="478"/>
          <ac:spMkLst>
            <pc:docMk/>
            <pc:sldMk cId="2665998918" sldId="2147376824"/>
            <ac:spMk id="11" creationId="{0BC102D7-D77B-C50F-A9A9-CDC526DA8520}"/>
          </ac:spMkLst>
        </pc:spChg>
        <pc:spChg chg="add del mod">
          <ac:chgData name="Clark, Connie" userId="73351e60-ad32-4085-a232-1d9f9b189479" providerId="ADAL" clId="{5F87A5E2-C2A2-4F23-BC8C-28F7F5EA6CA7}" dt="2024-03-30T23:39:13.728" v="15859" actId="478"/>
          <ac:spMkLst>
            <pc:docMk/>
            <pc:sldMk cId="2665998918" sldId="2147376824"/>
            <ac:spMk id="12" creationId="{AEF11816-A6F8-1C43-9457-DC059A41B894}"/>
          </ac:spMkLst>
        </pc:spChg>
        <pc:spChg chg="add del mod">
          <ac:chgData name="Clark, Connie" userId="73351e60-ad32-4085-a232-1d9f9b189479" providerId="ADAL" clId="{5F87A5E2-C2A2-4F23-BC8C-28F7F5EA6CA7}" dt="2024-03-30T23:39:13.728" v="15859" actId="478"/>
          <ac:spMkLst>
            <pc:docMk/>
            <pc:sldMk cId="2665998918" sldId="2147376824"/>
            <ac:spMk id="13" creationId="{845D2E7B-2B2D-BF85-621B-2A648D2A8FF9}"/>
          </ac:spMkLst>
        </pc:spChg>
        <pc:spChg chg="add del mod">
          <ac:chgData name="Clark, Connie" userId="73351e60-ad32-4085-a232-1d9f9b189479" providerId="ADAL" clId="{5F87A5E2-C2A2-4F23-BC8C-28F7F5EA6CA7}" dt="2024-03-30T23:39:13.728" v="15859" actId="478"/>
          <ac:spMkLst>
            <pc:docMk/>
            <pc:sldMk cId="2665998918" sldId="2147376824"/>
            <ac:spMk id="14" creationId="{7F1FEF20-2E51-50DE-A229-8F3AE6B55893}"/>
          </ac:spMkLst>
        </pc:spChg>
        <pc:spChg chg="add mod">
          <ac:chgData name="Clark, Connie" userId="73351e60-ad32-4085-a232-1d9f9b189479" providerId="ADAL" clId="{5F87A5E2-C2A2-4F23-BC8C-28F7F5EA6CA7}" dt="2024-03-30T23:39:16.748" v="15861"/>
          <ac:spMkLst>
            <pc:docMk/>
            <pc:sldMk cId="2665998918" sldId="2147376824"/>
            <ac:spMk id="15" creationId="{E781CB50-786E-FA60-DF0A-EB15D3603BAE}"/>
          </ac:spMkLst>
        </pc:spChg>
        <pc:spChg chg="add mod">
          <ac:chgData name="Clark, Connie" userId="73351e60-ad32-4085-a232-1d9f9b189479" providerId="ADAL" clId="{5F87A5E2-C2A2-4F23-BC8C-28F7F5EA6CA7}" dt="2024-03-30T23:39:16.748" v="15861"/>
          <ac:spMkLst>
            <pc:docMk/>
            <pc:sldMk cId="2665998918" sldId="2147376824"/>
            <ac:spMk id="16" creationId="{592574C2-FEB0-BF21-1D6F-984AE7D28006}"/>
          </ac:spMkLst>
        </pc:spChg>
        <pc:spChg chg="add mod">
          <ac:chgData name="Clark, Connie" userId="73351e60-ad32-4085-a232-1d9f9b189479" providerId="ADAL" clId="{5F87A5E2-C2A2-4F23-BC8C-28F7F5EA6CA7}" dt="2024-03-30T23:39:16.748" v="15861"/>
          <ac:spMkLst>
            <pc:docMk/>
            <pc:sldMk cId="2665998918" sldId="2147376824"/>
            <ac:spMk id="17" creationId="{59231FC4-8A9A-D8B6-1E4A-AE54B3733275}"/>
          </ac:spMkLst>
        </pc:spChg>
        <pc:spChg chg="add mod">
          <ac:chgData name="Clark, Connie" userId="73351e60-ad32-4085-a232-1d9f9b189479" providerId="ADAL" clId="{5F87A5E2-C2A2-4F23-BC8C-28F7F5EA6CA7}" dt="2024-03-30T23:39:16.748" v="15861"/>
          <ac:spMkLst>
            <pc:docMk/>
            <pc:sldMk cId="2665998918" sldId="2147376824"/>
            <ac:spMk id="18" creationId="{1B104A79-0AE3-F600-6B01-66D5B9F139F4}"/>
          </ac:spMkLst>
        </pc:spChg>
        <pc:spChg chg="add mod">
          <ac:chgData name="Clark, Connie" userId="73351e60-ad32-4085-a232-1d9f9b189479" providerId="ADAL" clId="{5F87A5E2-C2A2-4F23-BC8C-28F7F5EA6CA7}" dt="2024-03-30T23:39:16.748" v="15861"/>
          <ac:spMkLst>
            <pc:docMk/>
            <pc:sldMk cId="2665998918" sldId="2147376824"/>
            <ac:spMk id="20" creationId="{CC3D88E4-D3E6-1181-8BC1-FA82C8CB1BEA}"/>
          </ac:spMkLst>
        </pc:spChg>
        <pc:spChg chg="add mod">
          <ac:chgData name="Clark, Connie" userId="73351e60-ad32-4085-a232-1d9f9b189479" providerId="ADAL" clId="{5F87A5E2-C2A2-4F23-BC8C-28F7F5EA6CA7}" dt="2024-03-30T23:39:16.748" v="15861"/>
          <ac:spMkLst>
            <pc:docMk/>
            <pc:sldMk cId="2665998918" sldId="2147376824"/>
            <ac:spMk id="21" creationId="{81CABE1F-F81C-072D-2186-1AC62F9467EE}"/>
          </ac:spMkLst>
        </pc:spChg>
        <pc:spChg chg="add mod">
          <ac:chgData name="Clark, Connie" userId="73351e60-ad32-4085-a232-1d9f9b189479" providerId="ADAL" clId="{5F87A5E2-C2A2-4F23-BC8C-28F7F5EA6CA7}" dt="2024-03-30T23:39:16.748" v="15861"/>
          <ac:spMkLst>
            <pc:docMk/>
            <pc:sldMk cId="2665998918" sldId="2147376824"/>
            <ac:spMk id="22" creationId="{070CBD75-1604-D679-4EE9-A52C415046C7}"/>
          </ac:spMkLst>
        </pc:spChg>
        <pc:spChg chg="add mod">
          <ac:chgData name="Clark, Connie" userId="73351e60-ad32-4085-a232-1d9f9b189479" providerId="ADAL" clId="{5F87A5E2-C2A2-4F23-BC8C-28F7F5EA6CA7}" dt="2024-03-30T23:39:16.748" v="15861"/>
          <ac:spMkLst>
            <pc:docMk/>
            <pc:sldMk cId="2665998918" sldId="2147376824"/>
            <ac:spMk id="23" creationId="{91BEF68E-FC1B-78CC-209B-AB7FDBA04029}"/>
          </ac:spMkLst>
        </pc:spChg>
        <pc:spChg chg="add mod">
          <ac:chgData name="Clark, Connie" userId="73351e60-ad32-4085-a232-1d9f9b189479" providerId="ADAL" clId="{5F87A5E2-C2A2-4F23-BC8C-28F7F5EA6CA7}" dt="2024-03-30T23:39:16.748" v="15861"/>
          <ac:spMkLst>
            <pc:docMk/>
            <pc:sldMk cId="2665998918" sldId="2147376824"/>
            <ac:spMk id="24" creationId="{4CAEA6A3-D65D-4255-1B7E-DA693A5B3012}"/>
          </ac:spMkLst>
        </pc:spChg>
        <pc:spChg chg="add del mod">
          <ac:chgData name="Clark, Connie" userId="73351e60-ad32-4085-a232-1d9f9b189479" providerId="ADAL" clId="{5F87A5E2-C2A2-4F23-BC8C-28F7F5EA6CA7}" dt="2024-03-30T23:39:31.088" v="15863"/>
          <ac:spMkLst>
            <pc:docMk/>
            <pc:sldMk cId="2665998918" sldId="2147376824"/>
            <ac:spMk id="25" creationId="{AF81DA22-7190-7958-2F31-32CD00451A38}"/>
          </ac:spMkLst>
        </pc:spChg>
        <pc:spChg chg="add del mod">
          <ac:chgData name="Clark, Connie" userId="73351e60-ad32-4085-a232-1d9f9b189479" providerId="ADAL" clId="{5F87A5E2-C2A2-4F23-BC8C-28F7F5EA6CA7}" dt="2024-03-30T23:39:31.088" v="15863"/>
          <ac:spMkLst>
            <pc:docMk/>
            <pc:sldMk cId="2665998918" sldId="2147376824"/>
            <ac:spMk id="26" creationId="{4BAC51EF-6B6D-9A94-B980-EBAB10601827}"/>
          </ac:spMkLst>
        </pc:spChg>
        <pc:spChg chg="add del mod">
          <ac:chgData name="Clark, Connie" userId="73351e60-ad32-4085-a232-1d9f9b189479" providerId="ADAL" clId="{5F87A5E2-C2A2-4F23-BC8C-28F7F5EA6CA7}" dt="2024-03-30T23:39:31.088" v="15863"/>
          <ac:spMkLst>
            <pc:docMk/>
            <pc:sldMk cId="2665998918" sldId="2147376824"/>
            <ac:spMk id="27" creationId="{E562A510-E58E-60D5-1EA9-5A9A4C9F9B0B}"/>
          </ac:spMkLst>
        </pc:spChg>
        <pc:picChg chg="del mod">
          <ac:chgData name="Clark, Connie" userId="73351e60-ad32-4085-a232-1d9f9b189479" providerId="ADAL" clId="{5F87A5E2-C2A2-4F23-BC8C-28F7F5EA6CA7}" dt="2024-03-30T23:39:13.728" v="15859" actId="478"/>
          <ac:picMkLst>
            <pc:docMk/>
            <pc:sldMk cId="2665998918" sldId="2147376824"/>
            <ac:picMk id="2" creationId="{059C86E3-42A9-45BC-7488-A97EDDE8DF37}"/>
          </ac:picMkLst>
        </pc:picChg>
        <pc:picChg chg="add del">
          <ac:chgData name="Clark, Connie" userId="73351e60-ad32-4085-a232-1d9f9b189479" providerId="ADAL" clId="{5F87A5E2-C2A2-4F23-BC8C-28F7F5EA6CA7}" dt="2024-03-30T23:38:07.992" v="15849" actId="478"/>
          <ac:picMkLst>
            <pc:docMk/>
            <pc:sldMk cId="2665998918" sldId="2147376824"/>
            <ac:picMk id="4" creationId="{296A1D86-DCAE-ECE0-C744-DFFC24A070BB}"/>
          </ac:picMkLst>
        </pc:picChg>
        <pc:picChg chg="add mod">
          <ac:chgData name="Clark, Connie" userId="73351e60-ad32-4085-a232-1d9f9b189479" providerId="ADAL" clId="{5F87A5E2-C2A2-4F23-BC8C-28F7F5EA6CA7}" dt="2024-03-30T23:39:32.967" v="15865" actId="1076"/>
          <ac:picMkLst>
            <pc:docMk/>
            <pc:sldMk cId="2665998918" sldId="2147376824"/>
            <ac:picMk id="29" creationId="{F2E2F1FC-E671-B1FA-55A2-63160163E956}"/>
          </ac:picMkLst>
        </pc:picChg>
        <pc:picChg chg="del">
          <ac:chgData name="Clark, Connie" userId="73351e60-ad32-4085-a232-1d9f9b189479" providerId="ADAL" clId="{5F87A5E2-C2A2-4F23-BC8C-28F7F5EA6CA7}" dt="2024-03-30T23:39:15.141" v="15860" actId="478"/>
          <ac:picMkLst>
            <pc:docMk/>
            <pc:sldMk cId="2665998918" sldId="2147376824"/>
            <ac:picMk id="72" creationId="{5B6B67DC-4F14-EFCC-3CF9-CC7CBD07C692}"/>
          </ac:picMkLst>
        </pc:picChg>
      </pc:sldChg>
      <pc:sldChg chg="addSp delSp modSp add del mod">
        <pc:chgData name="Clark, Connie" userId="73351e60-ad32-4085-a232-1d9f9b189479" providerId="ADAL" clId="{5F87A5E2-C2A2-4F23-BC8C-28F7F5EA6CA7}" dt="2024-05-24T00:09:13.161" v="31035" actId="2696"/>
        <pc:sldMkLst>
          <pc:docMk/>
          <pc:sldMk cId="1100893940" sldId="2147376825"/>
        </pc:sldMkLst>
        <pc:spChg chg="add del mod">
          <ac:chgData name="Clark, Connie" userId="73351e60-ad32-4085-a232-1d9f9b189479" providerId="ADAL" clId="{5F87A5E2-C2A2-4F23-BC8C-28F7F5EA6CA7}" dt="2024-03-31T01:01:51.972" v="16814" actId="478"/>
          <ac:spMkLst>
            <pc:docMk/>
            <pc:sldMk cId="1100893940" sldId="2147376825"/>
            <ac:spMk id="2" creationId="{21D6B3E3-248F-1278-DA10-D96C996D4539}"/>
          </ac:spMkLst>
        </pc:spChg>
        <pc:spChg chg="add del mod">
          <ac:chgData name="Clark, Connie" userId="73351e60-ad32-4085-a232-1d9f9b189479" providerId="ADAL" clId="{5F87A5E2-C2A2-4F23-BC8C-28F7F5EA6CA7}" dt="2024-03-31T01:18:06.006" v="17105" actId="478"/>
          <ac:spMkLst>
            <pc:docMk/>
            <pc:sldMk cId="1100893940" sldId="2147376825"/>
            <ac:spMk id="6" creationId="{78624DD5-486D-A1D6-4D04-39378E9CEB4E}"/>
          </ac:spMkLst>
        </pc:spChg>
        <pc:spChg chg="add mod">
          <ac:chgData name="Clark, Connie" userId="73351e60-ad32-4085-a232-1d9f9b189479" providerId="ADAL" clId="{5F87A5E2-C2A2-4F23-BC8C-28F7F5EA6CA7}" dt="2024-03-31T03:08:30.783" v="18645"/>
          <ac:spMkLst>
            <pc:docMk/>
            <pc:sldMk cId="1100893940" sldId="2147376825"/>
            <ac:spMk id="7" creationId="{C89E190C-E4C5-EFF5-79F3-D6C243BDC761}"/>
          </ac:spMkLst>
        </pc:spChg>
        <pc:spChg chg="mod">
          <ac:chgData name="Clark, Connie" userId="73351e60-ad32-4085-a232-1d9f9b189479" providerId="ADAL" clId="{5F87A5E2-C2A2-4F23-BC8C-28F7F5EA6CA7}" dt="2024-03-31T01:39:52.895" v="17566" actId="115"/>
          <ac:spMkLst>
            <pc:docMk/>
            <pc:sldMk cId="1100893940" sldId="2147376825"/>
            <ac:spMk id="9" creationId="{59C93A0B-FB2C-ECDD-2A13-F15C8184C15C}"/>
          </ac:spMkLst>
        </pc:spChg>
        <pc:spChg chg="add del mod">
          <ac:chgData name="Clark, Connie" userId="73351e60-ad32-4085-a232-1d9f9b189479" providerId="ADAL" clId="{5F87A5E2-C2A2-4F23-BC8C-28F7F5EA6CA7}" dt="2024-03-31T01:17:52.404" v="17102" actId="478"/>
          <ac:spMkLst>
            <pc:docMk/>
            <pc:sldMk cId="1100893940" sldId="2147376825"/>
            <ac:spMk id="10" creationId="{C1A9E5CB-B80D-138D-9B72-141E6F57CFF6}"/>
          </ac:spMkLst>
        </pc:spChg>
        <pc:spChg chg="add del mod">
          <ac:chgData name="Clark, Connie" userId="73351e60-ad32-4085-a232-1d9f9b189479" providerId="ADAL" clId="{5F87A5E2-C2A2-4F23-BC8C-28F7F5EA6CA7}" dt="2024-03-31T04:00:29.884" v="19452" actId="478"/>
          <ac:spMkLst>
            <pc:docMk/>
            <pc:sldMk cId="1100893940" sldId="2147376825"/>
            <ac:spMk id="15" creationId="{6A7E8386-FF6B-87A5-3130-F41CC1882CE3}"/>
          </ac:spMkLst>
        </pc:spChg>
        <pc:spChg chg="add del mod">
          <ac:chgData name="Clark, Connie" userId="73351e60-ad32-4085-a232-1d9f9b189479" providerId="ADAL" clId="{5F87A5E2-C2A2-4F23-BC8C-28F7F5EA6CA7}" dt="2024-03-31T04:00:27.317" v="19451" actId="478"/>
          <ac:spMkLst>
            <pc:docMk/>
            <pc:sldMk cId="1100893940" sldId="2147376825"/>
            <ac:spMk id="16" creationId="{20F8B265-8739-2BF0-0506-68E5F0DF7E15}"/>
          </ac:spMkLst>
        </pc:spChg>
        <pc:spChg chg="add mod">
          <ac:chgData name="Clark, Connie" userId="73351e60-ad32-4085-a232-1d9f9b189479" providerId="ADAL" clId="{5F87A5E2-C2A2-4F23-BC8C-28F7F5EA6CA7}" dt="2024-03-31T01:36:08.921" v="17528" actId="20577"/>
          <ac:spMkLst>
            <pc:docMk/>
            <pc:sldMk cId="1100893940" sldId="2147376825"/>
            <ac:spMk id="18" creationId="{62B3A4F7-271C-86FE-7D13-E2CB8D4D125D}"/>
          </ac:spMkLst>
        </pc:spChg>
        <pc:spChg chg="del mod">
          <ac:chgData name="Clark, Connie" userId="73351e60-ad32-4085-a232-1d9f9b189479" providerId="ADAL" clId="{5F87A5E2-C2A2-4F23-BC8C-28F7F5EA6CA7}" dt="2024-03-31T02:06:12.395" v="17952" actId="478"/>
          <ac:spMkLst>
            <pc:docMk/>
            <pc:sldMk cId="1100893940" sldId="2147376825"/>
            <ac:spMk id="19" creationId="{EB1B145D-C6D0-7636-B993-3B67735A0205}"/>
          </ac:spMkLst>
        </pc:spChg>
        <pc:spChg chg="add mod">
          <ac:chgData name="Clark, Connie" userId="73351e60-ad32-4085-a232-1d9f9b189479" providerId="ADAL" clId="{5F87A5E2-C2A2-4F23-BC8C-28F7F5EA6CA7}" dt="2024-03-31T01:32:20.762" v="17430" actId="1076"/>
          <ac:spMkLst>
            <pc:docMk/>
            <pc:sldMk cId="1100893940" sldId="2147376825"/>
            <ac:spMk id="21" creationId="{F6E5B563-A295-2EEB-A4AC-6097985ED0C8}"/>
          </ac:spMkLst>
        </pc:spChg>
        <pc:spChg chg="add del">
          <ac:chgData name="Clark, Connie" userId="73351e60-ad32-4085-a232-1d9f9b189479" providerId="ADAL" clId="{5F87A5E2-C2A2-4F23-BC8C-28F7F5EA6CA7}" dt="2024-03-31T01:38:18.376" v="17555" actId="22"/>
          <ac:spMkLst>
            <pc:docMk/>
            <pc:sldMk cId="1100893940" sldId="2147376825"/>
            <ac:spMk id="26" creationId="{A488166F-8C66-0F07-1884-EDCA189EE0EF}"/>
          </ac:spMkLst>
        </pc:spChg>
        <pc:spChg chg="mod">
          <ac:chgData name="Clark, Connie" userId="73351e60-ad32-4085-a232-1d9f9b189479" providerId="ADAL" clId="{5F87A5E2-C2A2-4F23-BC8C-28F7F5EA6CA7}" dt="2024-03-31T04:04:27.490" v="19508" actId="1076"/>
          <ac:spMkLst>
            <pc:docMk/>
            <pc:sldMk cId="1100893940" sldId="2147376825"/>
            <ac:spMk id="28" creationId="{1F8DDD3D-F18B-23CB-BD17-0E093682ED6F}"/>
          </ac:spMkLst>
        </pc:spChg>
        <pc:spChg chg="add mod">
          <ac:chgData name="Clark, Connie" userId="73351e60-ad32-4085-a232-1d9f9b189479" providerId="ADAL" clId="{5F87A5E2-C2A2-4F23-BC8C-28F7F5EA6CA7}" dt="2024-03-31T04:04:47.349" v="19511" actId="1076"/>
          <ac:spMkLst>
            <pc:docMk/>
            <pc:sldMk cId="1100893940" sldId="2147376825"/>
            <ac:spMk id="29" creationId="{357B1D45-B3B3-13FB-017B-9615F49F55C2}"/>
          </ac:spMkLst>
        </pc:spChg>
        <pc:spChg chg="add mod">
          <ac:chgData name="Clark, Connie" userId="73351e60-ad32-4085-a232-1d9f9b189479" providerId="ADAL" clId="{5F87A5E2-C2A2-4F23-BC8C-28F7F5EA6CA7}" dt="2024-03-31T02:06:13.154" v="17953"/>
          <ac:spMkLst>
            <pc:docMk/>
            <pc:sldMk cId="1100893940" sldId="2147376825"/>
            <ac:spMk id="30" creationId="{5CDB5E60-6BA3-8F30-B16B-F86652039EAF}"/>
          </ac:spMkLst>
        </pc:spChg>
        <pc:spChg chg="add mod">
          <ac:chgData name="Clark, Connie" userId="73351e60-ad32-4085-a232-1d9f9b189479" providerId="ADAL" clId="{5F87A5E2-C2A2-4F23-BC8C-28F7F5EA6CA7}" dt="2024-03-31T02:06:26.790" v="17954"/>
          <ac:spMkLst>
            <pc:docMk/>
            <pc:sldMk cId="1100893940" sldId="2147376825"/>
            <ac:spMk id="31" creationId="{489D5CD0-F010-9F0A-3A30-B55E66FB200C}"/>
          </ac:spMkLst>
        </pc:spChg>
        <pc:spChg chg="del">
          <ac:chgData name="Clark, Connie" userId="73351e60-ad32-4085-a232-1d9f9b189479" providerId="ADAL" clId="{5F87A5E2-C2A2-4F23-BC8C-28F7F5EA6CA7}" dt="2024-03-31T01:05:02.204" v="16861" actId="478"/>
          <ac:spMkLst>
            <pc:docMk/>
            <pc:sldMk cId="1100893940" sldId="2147376825"/>
            <ac:spMk id="64" creationId="{0DFDE0AA-29C9-B8FA-8916-9D0067E07CE2}"/>
          </ac:spMkLst>
        </pc:spChg>
        <pc:spChg chg="add mod">
          <ac:chgData name="Clark, Connie" userId="73351e60-ad32-4085-a232-1d9f9b189479" providerId="ADAL" clId="{5F87A5E2-C2A2-4F23-BC8C-28F7F5EA6CA7}" dt="2024-03-31T02:06:26.790" v="17954"/>
          <ac:spMkLst>
            <pc:docMk/>
            <pc:sldMk cId="1100893940" sldId="2147376825"/>
            <ac:spMk id="65" creationId="{27AA3541-B6BD-79F9-8C69-64DCD914476C}"/>
          </ac:spMkLst>
        </pc:spChg>
        <pc:spChg chg="add del mod">
          <ac:chgData name="Clark, Connie" userId="73351e60-ad32-4085-a232-1d9f9b189479" providerId="ADAL" clId="{5F87A5E2-C2A2-4F23-BC8C-28F7F5EA6CA7}" dt="2024-03-31T02:07:03.189" v="17956"/>
          <ac:spMkLst>
            <pc:docMk/>
            <pc:sldMk cId="1100893940" sldId="2147376825"/>
            <ac:spMk id="66" creationId="{3CA7EE84-E68E-2889-9F72-DF205855B77E}"/>
          </ac:spMkLst>
        </pc:spChg>
        <pc:spChg chg="add del mod">
          <ac:chgData name="Clark, Connie" userId="73351e60-ad32-4085-a232-1d9f9b189479" providerId="ADAL" clId="{5F87A5E2-C2A2-4F23-BC8C-28F7F5EA6CA7}" dt="2024-03-31T02:07:03.189" v="17956"/>
          <ac:spMkLst>
            <pc:docMk/>
            <pc:sldMk cId="1100893940" sldId="2147376825"/>
            <ac:spMk id="67" creationId="{46CEDB88-C210-2C39-A2B9-92D3EC4ED251}"/>
          </ac:spMkLst>
        </pc:spChg>
        <pc:spChg chg="del">
          <ac:chgData name="Clark, Connie" userId="73351e60-ad32-4085-a232-1d9f9b189479" providerId="ADAL" clId="{5F87A5E2-C2A2-4F23-BC8C-28F7F5EA6CA7}" dt="2024-03-31T02:06:12.395" v="17952" actId="478"/>
          <ac:spMkLst>
            <pc:docMk/>
            <pc:sldMk cId="1100893940" sldId="2147376825"/>
            <ac:spMk id="70" creationId="{43F6EEFE-02AC-9A96-3E9B-147A15E8CC1B}"/>
          </ac:spMkLst>
        </pc:spChg>
        <pc:spChg chg="add del mod">
          <ac:chgData name="Clark, Connie" userId="73351e60-ad32-4085-a232-1d9f9b189479" providerId="ADAL" clId="{5F87A5E2-C2A2-4F23-BC8C-28F7F5EA6CA7}" dt="2024-03-31T04:01:13.712" v="19462" actId="478"/>
          <ac:spMkLst>
            <pc:docMk/>
            <pc:sldMk cId="1100893940" sldId="2147376825"/>
            <ac:spMk id="71" creationId="{56078319-D62D-906C-6CAB-A1A785706E02}"/>
          </ac:spMkLst>
        </pc:spChg>
        <pc:spChg chg="del">
          <ac:chgData name="Clark, Connie" userId="73351e60-ad32-4085-a232-1d9f9b189479" providerId="ADAL" clId="{5F87A5E2-C2A2-4F23-BC8C-28F7F5EA6CA7}" dt="2024-03-31T01:04:11.678" v="16836" actId="478"/>
          <ac:spMkLst>
            <pc:docMk/>
            <pc:sldMk cId="1100893940" sldId="2147376825"/>
            <ac:spMk id="75" creationId="{95E304D0-A898-DF00-8C3F-1CE5A42267C0}"/>
          </ac:spMkLst>
        </pc:spChg>
        <pc:spChg chg="del mod">
          <ac:chgData name="Clark, Connie" userId="73351e60-ad32-4085-a232-1d9f9b189479" providerId="ADAL" clId="{5F87A5E2-C2A2-4F23-BC8C-28F7F5EA6CA7}" dt="2024-03-31T01:05:09.896" v="16864" actId="478"/>
          <ac:spMkLst>
            <pc:docMk/>
            <pc:sldMk cId="1100893940" sldId="2147376825"/>
            <ac:spMk id="78" creationId="{159BC980-2AD9-21E8-6DE6-F3CDC0B8E3E4}"/>
          </ac:spMkLst>
        </pc:spChg>
        <pc:spChg chg="del mod">
          <ac:chgData name="Clark, Connie" userId="73351e60-ad32-4085-a232-1d9f9b189479" providerId="ADAL" clId="{5F87A5E2-C2A2-4F23-BC8C-28F7F5EA6CA7}" dt="2024-03-31T01:04:11.678" v="16836" actId="478"/>
          <ac:spMkLst>
            <pc:docMk/>
            <pc:sldMk cId="1100893940" sldId="2147376825"/>
            <ac:spMk id="79" creationId="{23F9E6E0-8369-9B40-1A2C-9CA6D0B0E24E}"/>
          </ac:spMkLst>
        </pc:spChg>
        <pc:spChg chg="del">
          <ac:chgData name="Clark, Connie" userId="73351e60-ad32-4085-a232-1d9f9b189479" providerId="ADAL" clId="{5F87A5E2-C2A2-4F23-BC8C-28F7F5EA6CA7}" dt="2024-03-31T01:04:11.678" v="16836" actId="478"/>
          <ac:spMkLst>
            <pc:docMk/>
            <pc:sldMk cId="1100893940" sldId="2147376825"/>
            <ac:spMk id="80" creationId="{CD9DE51C-3B05-ED4A-3D77-633CC5747F76}"/>
          </ac:spMkLst>
        </pc:spChg>
        <pc:picChg chg="del">
          <ac:chgData name="Clark, Connie" userId="73351e60-ad32-4085-a232-1d9f9b189479" providerId="ADAL" clId="{5F87A5E2-C2A2-4F23-BC8C-28F7F5EA6CA7}" dt="2024-03-31T01:05:03.666" v="16862" actId="478"/>
          <ac:picMkLst>
            <pc:docMk/>
            <pc:sldMk cId="1100893940" sldId="2147376825"/>
            <ac:picMk id="3" creationId="{EE807C51-8112-39B4-095D-E055E8137D98}"/>
          </ac:picMkLst>
        </pc:picChg>
        <pc:picChg chg="del">
          <ac:chgData name="Clark, Connie" userId="73351e60-ad32-4085-a232-1d9f9b189479" providerId="ADAL" clId="{5F87A5E2-C2A2-4F23-BC8C-28F7F5EA6CA7}" dt="2024-03-31T01:04:11.678" v="16836" actId="478"/>
          <ac:picMkLst>
            <pc:docMk/>
            <pc:sldMk cId="1100893940" sldId="2147376825"/>
            <ac:picMk id="5" creationId="{E6AF5ABD-B2B7-C00C-0272-F16FD4B23E7E}"/>
          </ac:picMkLst>
        </pc:picChg>
        <pc:picChg chg="add del mod">
          <ac:chgData name="Clark, Connie" userId="73351e60-ad32-4085-a232-1d9f9b189479" providerId="ADAL" clId="{5F87A5E2-C2A2-4F23-BC8C-28F7F5EA6CA7}" dt="2024-03-31T01:21:19.358" v="17124"/>
          <ac:picMkLst>
            <pc:docMk/>
            <pc:sldMk cId="1100893940" sldId="2147376825"/>
            <ac:picMk id="13" creationId="{AF8F8850-9298-C11E-63F1-DCD5F746AE47}"/>
          </ac:picMkLst>
        </pc:picChg>
        <pc:picChg chg="add mod">
          <ac:chgData name="Clark, Connie" userId="73351e60-ad32-4085-a232-1d9f9b189479" providerId="ADAL" clId="{5F87A5E2-C2A2-4F23-BC8C-28F7F5EA6CA7}" dt="2024-03-31T04:01:24.370" v="19473" actId="1037"/>
          <ac:picMkLst>
            <pc:docMk/>
            <pc:sldMk cId="1100893940" sldId="2147376825"/>
            <ac:picMk id="14" creationId="{2BA84D83-1968-CC7C-0128-6E0023B848F6}"/>
          </ac:picMkLst>
        </pc:picChg>
        <pc:picChg chg="add mod">
          <ac:chgData name="Clark, Connie" userId="73351e60-ad32-4085-a232-1d9f9b189479" providerId="ADAL" clId="{5F87A5E2-C2A2-4F23-BC8C-28F7F5EA6CA7}" dt="2024-03-31T04:01:21.592" v="19464" actId="1076"/>
          <ac:picMkLst>
            <pc:docMk/>
            <pc:sldMk cId="1100893940" sldId="2147376825"/>
            <ac:picMk id="68" creationId="{C8ACE57C-8BCC-833E-5CD1-8361A974927B}"/>
          </ac:picMkLst>
        </pc:picChg>
        <pc:picChg chg="add del mod">
          <ac:chgData name="Clark, Connie" userId="73351e60-ad32-4085-a232-1d9f9b189479" providerId="ADAL" clId="{5F87A5E2-C2A2-4F23-BC8C-28F7F5EA6CA7}" dt="2024-03-31T04:02:35.604" v="19488" actId="478"/>
          <ac:picMkLst>
            <pc:docMk/>
            <pc:sldMk cId="1100893940" sldId="2147376825"/>
            <ac:picMk id="72" creationId="{0DA057F8-4C33-D64B-C029-9E31FAC81810}"/>
          </ac:picMkLst>
        </pc:picChg>
        <pc:picChg chg="add del mod">
          <ac:chgData name="Clark, Connie" userId="73351e60-ad32-4085-a232-1d9f9b189479" providerId="ADAL" clId="{5F87A5E2-C2A2-4F23-BC8C-28F7F5EA6CA7}" dt="2024-03-31T04:04:15.414" v="19506" actId="478"/>
          <ac:picMkLst>
            <pc:docMk/>
            <pc:sldMk cId="1100893940" sldId="2147376825"/>
            <ac:picMk id="73" creationId="{5CCFF4E8-3B9D-1290-06D7-F73DAC9D49DA}"/>
          </ac:picMkLst>
        </pc:picChg>
        <pc:picChg chg="del">
          <ac:chgData name="Clark, Connie" userId="73351e60-ad32-4085-a232-1d9f9b189479" providerId="ADAL" clId="{5F87A5E2-C2A2-4F23-BC8C-28F7F5EA6CA7}" dt="2024-03-31T01:04:11.678" v="16836" actId="478"/>
          <ac:picMkLst>
            <pc:docMk/>
            <pc:sldMk cId="1100893940" sldId="2147376825"/>
            <ac:picMk id="74" creationId="{280B34D1-3656-1291-1C5B-B12CC2C891F8}"/>
          </ac:picMkLst>
        </pc:picChg>
        <pc:picChg chg="add mod">
          <ac:chgData name="Clark, Connie" userId="73351e60-ad32-4085-a232-1d9f9b189479" providerId="ADAL" clId="{5F87A5E2-C2A2-4F23-BC8C-28F7F5EA6CA7}" dt="2024-03-31T04:04:19.890" v="19507"/>
          <ac:picMkLst>
            <pc:docMk/>
            <pc:sldMk cId="1100893940" sldId="2147376825"/>
            <ac:picMk id="76" creationId="{67F5F8A2-CC7F-182C-9DF1-473746304A05}"/>
          </ac:picMkLst>
        </pc:picChg>
        <pc:picChg chg="del">
          <ac:chgData name="Clark, Connie" userId="73351e60-ad32-4085-a232-1d9f9b189479" providerId="ADAL" clId="{5F87A5E2-C2A2-4F23-BC8C-28F7F5EA6CA7}" dt="2024-03-31T04:01:46.431" v="19474" actId="478"/>
          <ac:picMkLst>
            <pc:docMk/>
            <pc:sldMk cId="1100893940" sldId="2147376825"/>
            <ac:picMk id="91" creationId="{AC2B28B8-5F1D-DB0B-0E50-11C608D54EF3}"/>
          </ac:picMkLst>
        </pc:picChg>
        <pc:cxnChg chg="del">
          <ac:chgData name="Clark, Connie" userId="73351e60-ad32-4085-a232-1d9f9b189479" providerId="ADAL" clId="{5F87A5E2-C2A2-4F23-BC8C-28F7F5EA6CA7}" dt="2024-03-31T01:04:11.678" v="16836" actId="478"/>
          <ac:cxnSpMkLst>
            <pc:docMk/>
            <pc:sldMk cId="1100893940" sldId="2147376825"/>
            <ac:cxnSpMk id="8" creationId="{AE7BBB2A-25D5-EA97-66FC-1825913DB53D}"/>
          </ac:cxnSpMkLst>
        </pc:cxnChg>
        <pc:cxnChg chg="add mod">
          <ac:chgData name="Clark, Connie" userId="73351e60-ad32-4085-a232-1d9f9b189479" providerId="ADAL" clId="{5F87A5E2-C2A2-4F23-BC8C-28F7F5EA6CA7}" dt="2024-03-31T01:33:56.777" v="17497" actId="1076"/>
          <ac:cxnSpMkLst>
            <pc:docMk/>
            <pc:sldMk cId="1100893940" sldId="2147376825"/>
            <ac:cxnSpMk id="11" creationId="{975E32D2-5DB9-DE83-8976-E70EE8A8255D}"/>
          </ac:cxnSpMkLst>
        </pc:cxnChg>
        <pc:cxnChg chg="del">
          <ac:chgData name="Clark, Connie" userId="73351e60-ad32-4085-a232-1d9f9b189479" providerId="ADAL" clId="{5F87A5E2-C2A2-4F23-BC8C-28F7F5EA6CA7}" dt="2024-03-31T01:04:15.653" v="16838" actId="478"/>
          <ac:cxnSpMkLst>
            <pc:docMk/>
            <pc:sldMk cId="1100893940" sldId="2147376825"/>
            <ac:cxnSpMk id="82" creationId="{6AD8AE18-4C39-E1DD-680F-2A4F235D2CCF}"/>
          </ac:cxnSpMkLst>
        </pc:cxnChg>
        <pc:cxnChg chg="del">
          <ac:chgData name="Clark, Connie" userId="73351e60-ad32-4085-a232-1d9f9b189479" providerId="ADAL" clId="{5F87A5E2-C2A2-4F23-BC8C-28F7F5EA6CA7}" dt="2024-03-31T01:04:14.525" v="16837" actId="478"/>
          <ac:cxnSpMkLst>
            <pc:docMk/>
            <pc:sldMk cId="1100893940" sldId="2147376825"/>
            <ac:cxnSpMk id="87" creationId="{9FA73BAC-717C-728C-0C29-7B68E0ED3A4A}"/>
          </ac:cxnSpMkLst>
        </pc:cxnChg>
        <pc:cxnChg chg="del">
          <ac:chgData name="Clark, Connie" userId="73351e60-ad32-4085-a232-1d9f9b189479" providerId="ADAL" clId="{5F87A5E2-C2A2-4F23-BC8C-28F7F5EA6CA7}" dt="2024-03-31T01:04:11.678" v="16836" actId="478"/>
          <ac:cxnSpMkLst>
            <pc:docMk/>
            <pc:sldMk cId="1100893940" sldId="2147376825"/>
            <ac:cxnSpMk id="90" creationId="{7A6D06E0-9716-1F31-4429-DB2CBD129244}"/>
          </ac:cxnSpMkLst>
        </pc:cxnChg>
      </pc:sldChg>
      <pc:sldChg chg="add del">
        <pc:chgData name="Clark, Connie" userId="73351e60-ad32-4085-a232-1d9f9b189479" providerId="ADAL" clId="{5F87A5E2-C2A2-4F23-BC8C-28F7F5EA6CA7}" dt="2024-03-31T00:57:53.129" v="16759"/>
        <pc:sldMkLst>
          <pc:docMk/>
          <pc:sldMk cId="1182576509" sldId="2147376825"/>
        </pc:sldMkLst>
      </pc:sldChg>
      <pc:sldChg chg="addSp delSp modSp add del mod">
        <pc:chgData name="Clark, Connie" userId="73351e60-ad32-4085-a232-1d9f9b189479" providerId="ADAL" clId="{5F87A5E2-C2A2-4F23-BC8C-28F7F5EA6CA7}" dt="2024-03-31T01:49:50.999" v="17612" actId="47"/>
        <pc:sldMkLst>
          <pc:docMk/>
          <pc:sldMk cId="3703879857" sldId="2147376826"/>
        </pc:sldMkLst>
        <pc:spChg chg="add mod">
          <ac:chgData name="Clark, Connie" userId="73351e60-ad32-4085-a232-1d9f9b189479" providerId="ADAL" clId="{5F87A5E2-C2A2-4F23-BC8C-28F7F5EA6CA7}" dt="2024-03-31T01:45:59.593" v="17588"/>
          <ac:spMkLst>
            <pc:docMk/>
            <pc:sldMk cId="3703879857" sldId="2147376826"/>
            <ac:spMk id="2" creationId="{DE973319-9C33-9B79-C84F-89B6A7E47890}"/>
          </ac:spMkLst>
        </pc:spChg>
        <pc:spChg chg="mod">
          <ac:chgData name="Clark, Connie" userId="73351e60-ad32-4085-a232-1d9f9b189479" providerId="ADAL" clId="{5F87A5E2-C2A2-4F23-BC8C-28F7F5EA6CA7}" dt="2024-03-31T01:40:55.260" v="17572" actId="1076"/>
          <ac:spMkLst>
            <pc:docMk/>
            <pc:sldMk cId="3703879857" sldId="2147376826"/>
            <ac:spMk id="9" creationId="{59C93A0B-FB2C-ECDD-2A13-F15C8184C15C}"/>
          </ac:spMkLst>
        </pc:spChg>
        <pc:spChg chg="del mod">
          <ac:chgData name="Clark, Connie" userId="73351e60-ad32-4085-a232-1d9f9b189479" providerId="ADAL" clId="{5F87A5E2-C2A2-4F23-BC8C-28F7F5EA6CA7}" dt="2024-03-31T01:46:03.813" v="17590" actId="478"/>
          <ac:spMkLst>
            <pc:docMk/>
            <pc:sldMk cId="3703879857" sldId="2147376826"/>
            <ac:spMk id="28" creationId="{1F8DDD3D-F18B-23CB-BD17-0E093682ED6F}"/>
          </ac:spMkLst>
        </pc:spChg>
      </pc:sldChg>
      <pc:sldChg chg="add del">
        <pc:chgData name="Clark, Connie" userId="73351e60-ad32-4085-a232-1d9f9b189479" providerId="ADAL" clId="{5F87A5E2-C2A2-4F23-BC8C-28F7F5EA6CA7}" dt="2024-03-31T05:25:41.894" v="21507" actId="47"/>
        <pc:sldMkLst>
          <pc:docMk/>
          <pc:sldMk cId="221851135" sldId="2147376827"/>
        </pc:sldMkLst>
      </pc:sldChg>
      <pc:sldChg chg="addSp modSp add del mod ord">
        <pc:chgData name="Clark, Connie" userId="73351e60-ad32-4085-a232-1d9f9b189479" providerId="ADAL" clId="{5F87A5E2-C2A2-4F23-BC8C-28F7F5EA6CA7}" dt="2024-05-24T00:02:43.346" v="31034" actId="2696"/>
        <pc:sldMkLst>
          <pc:docMk/>
          <pc:sldMk cId="4108656415" sldId="2147376828"/>
        </pc:sldMkLst>
        <pc:spChg chg="add mod">
          <ac:chgData name="Clark, Connie" userId="73351e60-ad32-4085-a232-1d9f9b189479" providerId="ADAL" clId="{5F87A5E2-C2A2-4F23-BC8C-28F7F5EA6CA7}" dt="2024-03-31T05:27:07.474" v="21516"/>
          <ac:spMkLst>
            <pc:docMk/>
            <pc:sldMk cId="4108656415" sldId="2147376828"/>
            <ac:spMk id="3" creationId="{317BC4E7-7764-23CC-AB60-C68819758AA3}"/>
          </ac:spMkLst>
        </pc:spChg>
        <pc:spChg chg="mod">
          <ac:chgData name="Clark, Connie" userId="73351e60-ad32-4085-a232-1d9f9b189479" providerId="ADAL" clId="{5F87A5E2-C2A2-4F23-BC8C-28F7F5EA6CA7}" dt="2024-03-31T01:48:20.118" v="17604" actId="207"/>
          <ac:spMkLst>
            <pc:docMk/>
            <pc:sldMk cId="4108656415" sldId="2147376828"/>
            <ac:spMk id="4" creationId="{86B9362D-E089-95DB-B503-63FDB487D4CB}"/>
          </ac:spMkLst>
        </pc:spChg>
        <pc:spChg chg="add mod">
          <ac:chgData name="Clark, Connie" userId="73351e60-ad32-4085-a232-1d9f9b189479" providerId="ADAL" clId="{5F87A5E2-C2A2-4F23-BC8C-28F7F5EA6CA7}" dt="2024-03-31T05:27:07.474" v="21516"/>
          <ac:spMkLst>
            <pc:docMk/>
            <pc:sldMk cId="4108656415" sldId="2147376828"/>
            <ac:spMk id="7" creationId="{19B9504A-98AC-954F-3C73-B5D0BE7FC227}"/>
          </ac:spMkLst>
        </pc:spChg>
        <pc:spChg chg="add mod">
          <ac:chgData name="Clark, Connie" userId="73351e60-ad32-4085-a232-1d9f9b189479" providerId="ADAL" clId="{5F87A5E2-C2A2-4F23-BC8C-28F7F5EA6CA7}" dt="2024-03-31T05:27:16.614" v="21517"/>
          <ac:spMkLst>
            <pc:docMk/>
            <pc:sldMk cId="4108656415" sldId="2147376828"/>
            <ac:spMk id="13" creationId="{296B1725-2134-D6D4-BDA4-DC92786025AC}"/>
          </ac:spMkLst>
        </pc:spChg>
        <pc:spChg chg="mod">
          <ac:chgData name="Clark, Connie" userId="73351e60-ad32-4085-a232-1d9f9b189479" providerId="ADAL" clId="{5F87A5E2-C2A2-4F23-BC8C-28F7F5EA6CA7}" dt="2024-03-31T02:14:20.985" v="18009" actId="1076"/>
          <ac:spMkLst>
            <pc:docMk/>
            <pc:sldMk cId="4108656415" sldId="2147376828"/>
            <ac:spMk id="18" creationId="{8F8D35F7-645F-99A3-E858-E644BF15E709}"/>
          </ac:spMkLst>
        </pc:spChg>
      </pc:sldChg>
      <pc:sldChg chg="add del">
        <pc:chgData name="Clark, Connie" userId="73351e60-ad32-4085-a232-1d9f9b189479" providerId="ADAL" clId="{5F87A5E2-C2A2-4F23-BC8C-28F7F5EA6CA7}" dt="2024-03-31T02:02:31.782" v="17930"/>
        <pc:sldMkLst>
          <pc:docMk/>
          <pc:sldMk cId="387727313" sldId="2147376829"/>
        </pc:sldMkLst>
      </pc:sldChg>
      <pc:sldChg chg="add del">
        <pc:chgData name="Clark, Connie" userId="73351e60-ad32-4085-a232-1d9f9b189479" providerId="ADAL" clId="{5F87A5E2-C2A2-4F23-BC8C-28F7F5EA6CA7}" dt="2024-03-31T05:27:20.430" v="21518" actId="47"/>
        <pc:sldMkLst>
          <pc:docMk/>
          <pc:sldMk cId="2091388632" sldId="2147376829"/>
        </pc:sldMkLst>
      </pc:sldChg>
      <pc:sldChg chg="addSp delSp modSp add del mod">
        <pc:chgData name="Clark, Connie" userId="73351e60-ad32-4085-a232-1d9f9b189479" providerId="ADAL" clId="{5F87A5E2-C2A2-4F23-BC8C-28F7F5EA6CA7}" dt="2024-04-02T13:11:12.102" v="26392" actId="47"/>
        <pc:sldMkLst>
          <pc:docMk/>
          <pc:sldMk cId="1360113053" sldId="2147376830"/>
        </pc:sldMkLst>
        <pc:spChg chg="add mod">
          <ac:chgData name="Clark, Connie" userId="73351e60-ad32-4085-a232-1d9f9b189479" providerId="ADAL" clId="{5F87A5E2-C2A2-4F23-BC8C-28F7F5EA6CA7}" dt="2024-03-31T02:18:15.799" v="18048" actId="14100"/>
          <ac:spMkLst>
            <pc:docMk/>
            <pc:sldMk cId="1360113053" sldId="2147376830"/>
            <ac:spMk id="7" creationId="{BD3FA770-FB5E-A1F3-6613-6933F45B0FE7}"/>
          </ac:spMkLst>
        </pc:spChg>
        <pc:spChg chg="del">
          <ac:chgData name="Clark, Connie" userId="73351e60-ad32-4085-a232-1d9f9b189479" providerId="ADAL" clId="{5F87A5E2-C2A2-4F23-BC8C-28F7F5EA6CA7}" dt="2024-03-31T02:07:28.668" v="17958" actId="478"/>
          <ac:spMkLst>
            <pc:docMk/>
            <pc:sldMk cId="1360113053" sldId="2147376830"/>
            <ac:spMk id="9" creationId="{59C93A0B-FB2C-ECDD-2A13-F15C8184C15C}"/>
          </ac:spMkLst>
        </pc:spChg>
        <pc:spChg chg="add del mod">
          <ac:chgData name="Clark, Connie" userId="73351e60-ad32-4085-a232-1d9f9b189479" providerId="ADAL" clId="{5F87A5E2-C2A2-4F23-BC8C-28F7F5EA6CA7}" dt="2024-03-31T02:12:50.831" v="17996" actId="478"/>
          <ac:spMkLst>
            <pc:docMk/>
            <pc:sldMk cId="1360113053" sldId="2147376830"/>
            <ac:spMk id="10" creationId="{BDF5704D-60AF-5584-25DA-854FC13D7E03}"/>
          </ac:spMkLst>
        </pc:spChg>
        <pc:spChg chg="add del mod">
          <ac:chgData name="Clark, Connie" userId="73351e60-ad32-4085-a232-1d9f9b189479" providerId="ADAL" clId="{5F87A5E2-C2A2-4F23-BC8C-28F7F5EA6CA7}" dt="2024-03-31T02:32:18.439" v="18271" actId="478"/>
          <ac:spMkLst>
            <pc:docMk/>
            <pc:sldMk cId="1360113053" sldId="2147376830"/>
            <ac:spMk id="11" creationId="{E49D503F-8176-56A2-D010-9C7B2680DA39}"/>
          </ac:spMkLst>
        </pc:spChg>
        <pc:spChg chg="add mod">
          <ac:chgData name="Clark, Connie" userId="73351e60-ad32-4085-a232-1d9f9b189479" providerId="ADAL" clId="{5F87A5E2-C2A2-4F23-BC8C-28F7F5EA6CA7}" dt="2024-03-31T04:06:45.248" v="19523" actId="14100"/>
          <ac:spMkLst>
            <pc:docMk/>
            <pc:sldMk cId="1360113053" sldId="2147376830"/>
            <ac:spMk id="12" creationId="{99741F66-1199-BBF0-3198-03D69F088041}"/>
          </ac:spMkLst>
        </pc:spChg>
        <pc:spChg chg="add mod">
          <ac:chgData name="Clark, Connie" userId="73351e60-ad32-4085-a232-1d9f9b189479" providerId="ADAL" clId="{5F87A5E2-C2A2-4F23-BC8C-28F7F5EA6CA7}" dt="2024-03-31T04:06:54.128" v="19525" actId="1076"/>
          <ac:spMkLst>
            <pc:docMk/>
            <pc:sldMk cId="1360113053" sldId="2147376830"/>
            <ac:spMk id="13" creationId="{23165532-B50A-DF8C-D83C-FCCEBE2225BF}"/>
          </ac:spMkLst>
        </pc:spChg>
        <pc:spChg chg="add del mod">
          <ac:chgData name="Clark, Connie" userId="73351e60-ad32-4085-a232-1d9f9b189479" providerId="ADAL" clId="{5F87A5E2-C2A2-4F23-BC8C-28F7F5EA6CA7}" dt="2024-03-31T02:14:32.527" v="18010" actId="478"/>
          <ac:spMkLst>
            <pc:docMk/>
            <pc:sldMk cId="1360113053" sldId="2147376830"/>
            <ac:spMk id="14" creationId="{D0BA8AAC-5F97-8065-73BE-C59CD231EF75}"/>
          </ac:spMkLst>
        </pc:spChg>
        <pc:spChg chg="add mod">
          <ac:chgData name="Clark, Connie" userId="73351e60-ad32-4085-a232-1d9f9b189479" providerId="ADAL" clId="{5F87A5E2-C2A2-4F23-BC8C-28F7F5EA6CA7}" dt="2024-03-31T04:08:04.386" v="19540" actId="1037"/>
          <ac:spMkLst>
            <pc:docMk/>
            <pc:sldMk cId="1360113053" sldId="2147376830"/>
            <ac:spMk id="15" creationId="{0A3CC143-F78D-B403-09EA-16C519613F28}"/>
          </ac:spMkLst>
        </pc:spChg>
        <pc:spChg chg="add del mod">
          <ac:chgData name="Clark, Connie" userId="73351e60-ad32-4085-a232-1d9f9b189479" providerId="ADAL" clId="{5F87A5E2-C2A2-4F23-BC8C-28F7F5EA6CA7}" dt="2024-03-31T02:14:43.298" v="18013" actId="478"/>
          <ac:spMkLst>
            <pc:docMk/>
            <pc:sldMk cId="1360113053" sldId="2147376830"/>
            <ac:spMk id="16" creationId="{A122EE1F-8124-294C-602D-2D1EA8A4D3A5}"/>
          </ac:spMkLst>
        </pc:spChg>
        <pc:spChg chg="add mod">
          <ac:chgData name="Clark, Connie" userId="73351e60-ad32-4085-a232-1d9f9b189479" providerId="ADAL" clId="{5F87A5E2-C2A2-4F23-BC8C-28F7F5EA6CA7}" dt="2024-03-31T02:22:00.878" v="18067" actId="1076"/>
          <ac:spMkLst>
            <pc:docMk/>
            <pc:sldMk cId="1360113053" sldId="2147376830"/>
            <ac:spMk id="17" creationId="{9DF239BB-38F5-5E4C-5CE0-5F5AFD5F3474}"/>
          </ac:spMkLst>
        </pc:spChg>
        <pc:spChg chg="add del mod">
          <ac:chgData name="Clark, Connie" userId="73351e60-ad32-4085-a232-1d9f9b189479" providerId="ADAL" clId="{5F87A5E2-C2A2-4F23-BC8C-28F7F5EA6CA7}" dt="2024-03-31T02:14:44.833" v="18014" actId="478"/>
          <ac:spMkLst>
            <pc:docMk/>
            <pc:sldMk cId="1360113053" sldId="2147376830"/>
            <ac:spMk id="18" creationId="{0356203D-0A6E-9524-A985-AF4EF89CFADA}"/>
          </ac:spMkLst>
        </pc:spChg>
        <pc:spChg chg="add del mod">
          <ac:chgData name="Clark, Connie" userId="73351e60-ad32-4085-a232-1d9f9b189479" providerId="ADAL" clId="{5F87A5E2-C2A2-4F23-BC8C-28F7F5EA6CA7}" dt="2024-03-31T02:31:30.325" v="18264" actId="478"/>
          <ac:spMkLst>
            <pc:docMk/>
            <pc:sldMk cId="1360113053" sldId="2147376830"/>
            <ac:spMk id="20" creationId="{E5B4EE64-D913-A691-0361-C85325A1A246}"/>
          </ac:spMkLst>
        </pc:spChg>
        <pc:spChg chg="add del mod">
          <ac:chgData name="Clark, Connie" userId="73351e60-ad32-4085-a232-1d9f9b189479" providerId="ADAL" clId="{5F87A5E2-C2A2-4F23-BC8C-28F7F5EA6CA7}" dt="2024-03-31T02:31:35.872" v="18266" actId="478"/>
          <ac:spMkLst>
            <pc:docMk/>
            <pc:sldMk cId="1360113053" sldId="2147376830"/>
            <ac:spMk id="21" creationId="{1A40565B-9B04-7E99-412F-C793E4269615}"/>
          </ac:spMkLst>
        </pc:spChg>
        <pc:spChg chg="add del mod">
          <ac:chgData name="Clark, Connie" userId="73351e60-ad32-4085-a232-1d9f9b189479" providerId="ADAL" clId="{5F87A5E2-C2A2-4F23-BC8C-28F7F5EA6CA7}" dt="2024-03-31T02:16:31.856" v="18035" actId="478"/>
          <ac:spMkLst>
            <pc:docMk/>
            <pc:sldMk cId="1360113053" sldId="2147376830"/>
            <ac:spMk id="22" creationId="{F69A9C00-B116-05A6-5884-DCFD29019A57}"/>
          </ac:spMkLst>
        </pc:spChg>
        <pc:spChg chg="add del mod">
          <ac:chgData name="Clark, Connie" userId="73351e60-ad32-4085-a232-1d9f9b189479" providerId="ADAL" clId="{5F87A5E2-C2A2-4F23-BC8C-28F7F5EA6CA7}" dt="2024-03-31T02:15:54.548" v="18024" actId="478"/>
          <ac:spMkLst>
            <pc:docMk/>
            <pc:sldMk cId="1360113053" sldId="2147376830"/>
            <ac:spMk id="23" creationId="{3B771E9A-DF05-CCFA-0952-3D2FE7BB885C}"/>
          </ac:spMkLst>
        </pc:spChg>
        <pc:spChg chg="add del mod">
          <ac:chgData name="Clark, Connie" userId="73351e60-ad32-4085-a232-1d9f9b189479" providerId="ADAL" clId="{5F87A5E2-C2A2-4F23-BC8C-28F7F5EA6CA7}" dt="2024-03-31T02:15:56.273" v="18025" actId="478"/>
          <ac:spMkLst>
            <pc:docMk/>
            <pc:sldMk cId="1360113053" sldId="2147376830"/>
            <ac:spMk id="24" creationId="{22726FA9-67FB-6A9E-63EB-2A0D2244F0C6}"/>
          </ac:spMkLst>
        </pc:spChg>
        <pc:spChg chg="add del mod">
          <ac:chgData name="Clark, Connie" userId="73351e60-ad32-4085-a232-1d9f9b189479" providerId="ADAL" clId="{5F87A5E2-C2A2-4F23-BC8C-28F7F5EA6CA7}" dt="2024-03-31T02:17:47.504" v="18044" actId="478"/>
          <ac:spMkLst>
            <pc:docMk/>
            <pc:sldMk cId="1360113053" sldId="2147376830"/>
            <ac:spMk id="25" creationId="{8D3A5D43-E194-114B-AFC8-1CCCE18F81E3}"/>
          </ac:spMkLst>
        </pc:spChg>
        <pc:spChg chg="add del mod">
          <ac:chgData name="Clark, Connie" userId="73351e60-ad32-4085-a232-1d9f9b189479" providerId="ADAL" clId="{5F87A5E2-C2A2-4F23-BC8C-28F7F5EA6CA7}" dt="2024-03-31T02:28:53.660" v="18211" actId="478"/>
          <ac:spMkLst>
            <pc:docMk/>
            <pc:sldMk cId="1360113053" sldId="2147376830"/>
            <ac:spMk id="27" creationId="{1C80B5F3-F34D-8411-A881-F9E1E71DFCBD}"/>
          </ac:spMkLst>
        </pc:spChg>
        <pc:spChg chg="mod">
          <ac:chgData name="Clark, Connie" userId="73351e60-ad32-4085-a232-1d9f9b189479" providerId="ADAL" clId="{5F87A5E2-C2A2-4F23-BC8C-28F7F5EA6CA7}" dt="2024-03-31T04:05:14.391" v="19514" actId="1076"/>
          <ac:spMkLst>
            <pc:docMk/>
            <pc:sldMk cId="1360113053" sldId="2147376830"/>
            <ac:spMk id="28" creationId="{1F8DDD3D-F18B-23CB-BD17-0E093682ED6F}"/>
          </ac:spMkLst>
        </pc:spChg>
        <pc:spChg chg="add del mod">
          <ac:chgData name="Clark, Connie" userId="73351e60-ad32-4085-a232-1d9f9b189479" providerId="ADAL" clId="{5F87A5E2-C2A2-4F23-BC8C-28F7F5EA6CA7}" dt="2024-03-31T04:05:19.444" v="19515" actId="478"/>
          <ac:spMkLst>
            <pc:docMk/>
            <pc:sldMk cId="1360113053" sldId="2147376830"/>
            <ac:spMk id="29" creationId="{1B4C4493-BA68-DE20-18C8-5F4AE72003BC}"/>
          </ac:spMkLst>
        </pc:spChg>
        <pc:spChg chg="add del mod">
          <ac:chgData name="Clark, Connie" userId="73351e60-ad32-4085-a232-1d9f9b189479" providerId="ADAL" clId="{5F87A5E2-C2A2-4F23-BC8C-28F7F5EA6CA7}" dt="2024-03-31T04:05:19.444" v="19515" actId="478"/>
          <ac:spMkLst>
            <pc:docMk/>
            <pc:sldMk cId="1360113053" sldId="2147376830"/>
            <ac:spMk id="30" creationId="{1D993087-5172-34D1-341B-7CE884BD0C04}"/>
          </ac:spMkLst>
        </pc:spChg>
        <pc:spChg chg="add del mod">
          <ac:chgData name="Clark, Connie" userId="73351e60-ad32-4085-a232-1d9f9b189479" providerId="ADAL" clId="{5F87A5E2-C2A2-4F23-BC8C-28F7F5EA6CA7}" dt="2024-03-31T02:31:13.989" v="18258"/>
          <ac:spMkLst>
            <pc:docMk/>
            <pc:sldMk cId="1360113053" sldId="2147376830"/>
            <ac:spMk id="31" creationId="{2D24975C-A522-2B10-6D72-455974DF9694}"/>
          </ac:spMkLst>
        </pc:spChg>
        <pc:spChg chg="del">
          <ac:chgData name="Clark, Connie" userId="73351e60-ad32-4085-a232-1d9f9b189479" providerId="ADAL" clId="{5F87A5E2-C2A2-4F23-BC8C-28F7F5EA6CA7}" dt="2024-03-31T02:07:28.668" v="17958" actId="478"/>
          <ac:spMkLst>
            <pc:docMk/>
            <pc:sldMk cId="1360113053" sldId="2147376830"/>
            <ac:spMk id="64" creationId="{0DFDE0AA-29C9-B8FA-8916-9D0067E07CE2}"/>
          </ac:spMkLst>
        </pc:spChg>
        <pc:spChg chg="add del mod">
          <ac:chgData name="Clark, Connie" userId="73351e60-ad32-4085-a232-1d9f9b189479" providerId="ADAL" clId="{5F87A5E2-C2A2-4F23-BC8C-28F7F5EA6CA7}" dt="2024-03-31T02:31:13.989" v="18258"/>
          <ac:spMkLst>
            <pc:docMk/>
            <pc:sldMk cId="1360113053" sldId="2147376830"/>
            <ac:spMk id="65" creationId="{1C750CD9-A8F0-171E-1AD3-9638E0CEA033}"/>
          </ac:spMkLst>
        </pc:spChg>
        <pc:spChg chg="add del mod">
          <ac:chgData name="Clark, Connie" userId="73351e60-ad32-4085-a232-1d9f9b189479" providerId="ADAL" clId="{5F87A5E2-C2A2-4F23-BC8C-28F7F5EA6CA7}" dt="2024-03-31T04:05:19.444" v="19515" actId="478"/>
          <ac:spMkLst>
            <pc:docMk/>
            <pc:sldMk cId="1360113053" sldId="2147376830"/>
            <ac:spMk id="67" creationId="{8584F568-8DD1-4E67-FE3A-165FBA7186C3}"/>
          </ac:spMkLst>
        </pc:spChg>
        <pc:spChg chg="add del mod">
          <ac:chgData name="Clark, Connie" userId="73351e60-ad32-4085-a232-1d9f9b189479" providerId="ADAL" clId="{5F87A5E2-C2A2-4F23-BC8C-28F7F5EA6CA7}" dt="2024-03-31T04:12:43.949" v="19903" actId="478"/>
          <ac:spMkLst>
            <pc:docMk/>
            <pc:sldMk cId="1360113053" sldId="2147376830"/>
            <ac:spMk id="71" creationId="{2289EAF8-E5B8-54ED-CC68-B1BBABEBBDAA}"/>
          </ac:spMkLst>
        </pc:spChg>
        <pc:spChg chg="add del mod">
          <ac:chgData name="Clark, Connie" userId="73351e60-ad32-4085-a232-1d9f9b189479" providerId="ADAL" clId="{5F87A5E2-C2A2-4F23-BC8C-28F7F5EA6CA7}" dt="2024-03-31T04:11:06.256" v="19889" actId="478"/>
          <ac:spMkLst>
            <pc:docMk/>
            <pc:sldMk cId="1360113053" sldId="2147376830"/>
            <ac:spMk id="72" creationId="{786BD7CF-3207-7A42-A534-28E0AD41A2C5}"/>
          </ac:spMkLst>
        </pc:spChg>
        <pc:spChg chg="add del mod">
          <ac:chgData name="Clark, Connie" userId="73351e60-ad32-4085-a232-1d9f9b189479" providerId="ADAL" clId="{5F87A5E2-C2A2-4F23-BC8C-28F7F5EA6CA7}" dt="2024-03-31T04:11:06.256" v="19889" actId="478"/>
          <ac:spMkLst>
            <pc:docMk/>
            <pc:sldMk cId="1360113053" sldId="2147376830"/>
            <ac:spMk id="73" creationId="{0CD93C53-8467-F8EC-BBEB-6631BA439AC6}"/>
          </ac:spMkLst>
        </pc:spChg>
        <pc:spChg chg="del">
          <ac:chgData name="Clark, Connie" userId="73351e60-ad32-4085-a232-1d9f9b189479" providerId="ADAL" clId="{5F87A5E2-C2A2-4F23-BC8C-28F7F5EA6CA7}" dt="2024-03-31T02:07:28.668" v="17958" actId="478"/>
          <ac:spMkLst>
            <pc:docMk/>
            <pc:sldMk cId="1360113053" sldId="2147376830"/>
            <ac:spMk id="75" creationId="{95E304D0-A898-DF00-8C3F-1CE5A42267C0}"/>
          </ac:spMkLst>
        </pc:spChg>
        <pc:spChg chg="add del mod">
          <ac:chgData name="Clark, Connie" userId="73351e60-ad32-4085-a232-1d9f9b189479" providerId="ADAL" clId="{5F87A5E2-C2A2-4F23-BC8C-28F7F5EA6CA7}" dt="2024-03-31T04:11:06.256" v="19889" actId="478"/>
          <ac:spMkLst>
            <pc:docMk/>
            <pc:sldMk cId="1360113053" sldId="2147376830"/>
            <ac:spMk id="76" creationId="{433B9018-6114-85AD-6621-9EAAC7C2B5FC}"/>
          </ac:spMkLst>
        </pc:spChg>
        <pc:spChg chg="add del mod">
          <ac:chgData name="Clark, Connie" userId="73351e60-ad32-4085-a232-1d9f9b189479" providerId="ADAL" clId="{5F87A5E2-C2A2-4F23-BC8C-28F7F5EA6CA7}" dt="2024-03-31T04:11:06.256" v="19889" actId="478"/>
          <ac:spMkLst>
            <pc:docMk/>
            <pc:sldMk cId="1360113053" sldId="2147376830"/>
            <ac:spMk id="77" creationId="{12E5DF47-C239-541E-BCDD-82DAA3DA938D}"/>
          </ac:spMkLst>
        </pc:spChg>
        <pc:spChg chg="del">
          <ac:chgData name="Clark, Connie" userId="73351e60-ad32-4085-a232-1d9f9b189479" providerId="ADAL" clId="{5F87A5E2-C2A2-4F23-BC8C-28F7F5EA6CA7}" dt="2024-03-31T02:07:28.668" v="17958" actId="478"/>
          <ac:spMkLst>
            <pc:docMk/>
            <pc:sldMk cId="1360113053" sldId="2147376830"/>
            <ac:spMk id="78" creationId="{159BC980-2AD9-21E8-6DE6-F3CDC0B8E3E4}"/>
          </ac:spMkLst>
        </pc:spChg>
        <pc:spChg chg="del">
          <ac:chgData name="Clark, Connie" userId="73351e60-ad32-4085-a232-1d9f9b189479" providerId="ADAL" clId="{5F87A5E2-C2A2-4F23-BC8C-28F7F5EA6CA7}" dt="2024-03-31T02:07:28.668" v="17958" actId="478"/>
          <ac:spMkLst>
            <pc:docMk/>
            <pc:sldMk cId="1360113053" sldId="2147376830"/>
            <ac:spMk id="79" creationId="{23F9E6E0-8369-9B40-1A2C-9CA6D0B0E24E}"/>
          </ac:spMkLst>
        </pc:spChg>
        <pc:spChg chg="del">
          <ac:chgData name="Clark, Connie" userId="73351e60-ad32-4085-a232-1d9f9b189479" providerId="ADAL" clId="{5F87A5E2-C2A2-4F23-BC8C-28F7F5EA6CA7}" dt="2024-03-31T02:07:28.668" v="17958" actId="478"/>
          <ac:spMkLst>
            <pc:docMk/>
            <pc:sldMk cId="1360113053" sldId="2147376830"/>
            <ac:spMk id="80" creationId="{CD9DE51C-3B05-ED4A-3D77-633CC5747F76}"/>
          </ac:spMkLst>
        </pc:spChg>
        <pc:spChg chg="add del mod">
          <ac:chgData name="Clark, Connie" userId="73351e60-ad32-4085-a232-1d9f9b189479" providerId="ADAL" clId="{5F87A5E2-C2A2-4F23-BC8C-28F7F5EA6CA7}" dt="2024-03-31T04:11:06.256" v="19889" actId="478"/>
          <ac:spMkLst>
            <pc:docMk/>
            <pc:sldMk cId="1360113053" sldId="2147376830"/>
            <ac:spMk id="81" creationId="{DBD9EB2A-6587-9F76-1C34-BFACC986E71F}"/>
          </ac:spMkLst>
        </pc:spChg>
        <pc:spChg chg="add del mod">
          <ac:chgData name="Clark, Connie" userId="73351e60-ad32-4085-a232-1d9f9b189479" providerId="ADAL" clId="{5F87A5E2-C2A2-4F23-BC8C-28F7F5EA6CA7}" dt="2024-03-31T04:12:43.949" v="19903" actId="478"/>
          <ac:spMkLst>
            <pc:docMk/>
            <pc:sldMk cId="1360113053" sldId="2147376830"/>
            <ac:spMk id="83" creationId="{D3E580F8-4C8C-09EA-BBA9-B665AD84F51C}"/>
          </ac:spMkLst>
        </pc:spChg>
        <pc:spChg chg="add del mod">
          <ac:chgData name="Clark, Connie" userId="73351e60-ad32-4085-a232-1d9f9b189479" providerId="ADAL" clId="{5F87A5E2-C2A2-4F23-BC8C-28F7F5EA6CA7}" dt="2024-03-31T04:12:43.949" v="19903" actId="478"/>
          <ac:spMkLst>
            <pc:docMk/>
            <pc:sldMk cId="1360113053" sldId="2147376830"/>
            <ac:spMk id="84" creationId="{FF952CFC-7BDB-4433-5DFF-CBBB8060BC2C}"/>
          </ac:spMkLst>
        </pc:spChg>
        <pc:spChg chg="add del mod">
          <ac:chgData name="Clark, Connie" userId="73351e60-ad32-4085-a232-1d9f9b189479" providerId="ADAL" clId="{5F87A5E2-C2A2-4F23-BC8C-28F7F5EA6CA7}" dt="2024-03-31T04:12:43.949" v="19903" actId="478"/>
          <ac:spMkLst>
            <pc:docMk/>
            <pc:sldMk cId="1360113053" sldId="2147376830"/>
            <ac:spMk id="85" creationId="{A1B560D8-CE41-BE94-A33E-6A4AD0DAAD7F}"/>
          </ac:spMkLst>
        </pc:spChg>
        <pc:spChg chg="add del mod">
          <ac:chgData name="Clark, Connie" userId="73351e60-ad32-4085-a232-1d9f9b189479" providerId="ADAL" clId="{5F87A5E2-C2A2-4F23-BC8C-28F7F5EA6CA7}" dt="2024-03-31T04:12:43.949" v="19903" actId="478"/>
          <ac:spMkLst>
            <pc:docMk/>
            <pc:sldMk cId="1360113053" sldId="2147376830"/>
            <ac:spMk id="86" creationId="{473D9D8C-05CA-5F38-7CAD-565F0BDB42F4}"/>
          </ac:spMkLst>
        </pc:spChg>
        <pc:spChg chg="add del mod">
          <ac:chgData name="Clark, Connie" userId="73351e60-ad32-4085-a232-1d9f9b189479" providerId="ADAL" clId="{5F87A5E2-C2A2-4F23-BC8C-28F7F5EA6CA7}" dt="2024-03-31T04:12:43.949" v="19903" actId="478"/>
          <ac:spMkLst>
            <pc:docMk/>
            <pc:sldMk cId="1360113053" sldId="2147376830"/>
            <ac:spMk id="88" creationId="{4B63288E-3244-C080-6355-4A634244FAF0}"/>
          </ac:spMkLst>
        </pc:spChg>
        <pc:spChg chg="add del mod">
          <ac:chgData name="Clark, Connie" userId="73351e60-ad32-4085-a232-1d9f9b189479" providerId="ADAL" clId="{5F87A5E2-C2A2-4F23-BC8C-28F7F5EA6CA7}" dt="2024-03-31T04:12:43.949" v="19903" actId="478"/>
          <ac:spMkLst>
            <pc:docMk/>
            <pc:sldMk cId="1360113053" sldId="2147376830"/>
            <ac:spMk id="89" creationId="{5935F9F2-C775-1528-0333-4E3435A02962}"/>
          </ac:spMkLst>
        </pc:spChg>
        <pc:spChg chg="add mod">
          <ac:chgData name="Clark, Connie" userId="73351e60-ad32-4085-a232-1d9f9b189479" providerId="ADAL" clId="{5F87A5E2-C2A2-4F23-BC8C-28F7F5EA6CA7}" dt="2024-03-31T04:13:22.754" v="19926" actId="207"/>
          <ac:spMkLst>
            <pc:docMk/>
            <pc:sldMk cId="1360113053" sldId="2147376830"/>
            <ac:spMk id="92" creationId="{DEEB686F-4EB2-9DEC-4D2D-07DD886DDF60}"/>
          </ac:spMkLst>
        </pc:spChg>
        <pc:spChg chg="add mod">
          <ac:chgData name="Clark, Connie" userId="73351e60-ad32-4085-a232-1d9f9b189479" providerId="ADAL" clId="{5F87A5E2-C2A2-4F23-BC8C-28F7F5EA6CA7}" dt="2024-03-31T04:13:31.836" v="19928" actId="207"/>
          <ac:spMkLst>
            <pc:docMk/>
            <pc:sldMk cId="1360113053" sldId="2147376830"/>
            <ac:spMk id="93" creationId="{5516C3B5-FA85-C011-35CC-18AA49AF85B3}"/>
          </ac:spMkLst>
        </pc:spChg>
        <pc:spChg chg="add mod">
          <ac:chgData name="Clark, Connie" userId="73351e60-ad32-4085-a232-1d9f9b189479" providerId="ADAL" clId="{5F87A5E2-C2A2-4F23-BC8C-28F7F5EA6CA7}" dt="2024-03-31T04:15:16.147" v="19942" actId="688"/>
          <ac:spMkLst>
            <pc:docMk/>
            <pc:sldMk cId="1360113053" sldId="2147376830"/>
            <ac:spMk id="94" creationId="{9AA99F92-BEAF-8F2A-3584-D963F01596DC}"/>
          </ac:spMkLst>
        </pc:spChg>
        <pc:spChg chg="add mod">
          <ac:chgData name="Clark, Connie" userId="73351e60-ad32-4085-a232-1d9f9b189479" providerId="ADAL" clId="{5F87A5E2-C2A2-4F23-BC8C-28F7F5EA6CA7}" dt="2024-03-31T04:15:16.147" v="19942" actId="688"/>
          <ac:spMkLst>
            <pc:docMk/>
            <pc:sldMk cId="1360113053" sldId="2147376830"/>
            <ac:spMk id="95" creationId="{AAA7CF06-9CDA-F334-2A83-0C7751E7930F}"/>
          </ac:spMkLst>
        </pc:spChg>
        <pc:spChg chg="add mod">
          <ac:chgData name="Clark, Connie" userId="73351e60-ad32-4085-a232-1d9f9b189479" providerId="ADAL" clId="{5F87A5E2-C2A2-4F23-BC8C-28F7F5EA6CA7}" dt="2024-03-31T04:15:16.147" v="19942" actId="688"/>
          <ac:spMkLst>
            <pc:docMk/>
            <pc:sldMk cId="1360113053" sldId="2147376830"/>
            <ac:spMk id="96" creationId="{E1A0166B-5271-3CCC-5371-99A8B0F089CA}"/>
          </ac:spMkLst>
        </pc:spChg>
        <pc:spChg chg="add mod">
          <ac:chgData name="Clark, Connie" userId="73351e60-ad32-4085-a232-1d9f9b189479" providerId="ADAL" clId="{5F87A5E2-C2A2-4F23-BC8C-28F7F5EA6CA7}" dt="2024-03-31T04:15:16.147" v="19942" actId="688"/>
          <ac:spMkLst>
            <pc:docMk/>
            <pc:sldMk cId="1360113053" sldId="2147376830"/>
            <ac:spMk id="97" creationId="{0BC1ACE9-BA35-6107-5F09-621A0D1B1E53}"/>
          </ac:spMkLst>
        </pc:spChg>
        <pc:spChg chg="add mod">
          <ac:chgData name="Clark, Connie" userId="73351e60-ad32-4085-a232-1d9f9b189479" providerId="ADAL" clId="{5F87A5E2-C2A2-4F23-BC8C-28F7F5EA6CA7}" dt="2024-03-31T04:15:16.147" v="19942" actId="688"/>
          <ac:spMkLst>
            <pc:docMk/>
            <pc:sldMk cId="1360113053" sldId="2147376830"/>
            <ac:spMk id="98" creationId="{7EEA7F4B-083C-9FB2-7D65-C1750BADB374}"/>
          </ac:spMkLst>
        </pc:spChg>
        <pc:spChg chg="add mod">
          <ac:chgData name="Clark, Connie" userId="73351e60-ad32-4085-a232-1d9f9b189479" providerId="ADAL" clId="{5F87A5E2-C2A2-4F23-BC8C-28F7F5EA6CA7}" dt="2024-03-31T04:15:16.147" v="19942" actId="688"/>
          <ac:spMkLst>
            <pc:docMk/>
            <pc:sldMk cId="1360113053" sldId="2147376830"/>
            <ac:spMk id="99" creationId="{9A7A982E-2835-2340-9F7C-E769EE808026}"/>
          </ac:spMkLst>
        </pc:spChg>
        <pc:picChg chg="add del mod">
          <ac:chgData name="Clark, Connie" userId="73351e60-ad32-4085-a232-1d9f9b189479" providerId="ADAL" clId="{5F87A5E2-C2A2-4F23-BC8C-28F7F5EA6CA7}" dt="2024-03-31T02:11:43.940" v="17988" actId="478"/>
          <ac:picMkLst>
            <pc:docMk/>
            <pc:sldMk cId="1360113053" sldId="2147376830"/>
            <ac:picMk id="2" creationId="{2CCF5974-8405-DE12-5015-E7E88674FA0F}"/>
          </ac:picMkLst>
        </pc:picChg>
        <pc:picChg chg="del">
          <ac:chgData name="Clark, Connie" userId="73351e60-ad32-4085-a232-1d9f9b189479" providerId="ADAL" clId="{5F87A5E2-C2A2-4F23-BC8C-28F7F5EA6CA7}" dt="2024-03-31T02:07:28.668" v="17958" actId="478"/>
          <ac:picMkLst>
            <pc:docMk/>
            <pc:sldMk cId="1360113053" sldId="2147376830"/>
            <ac:picMk id="3" creationId="{EE807C51-8112-39B4-095D-E055E8137D98}"/>
          </ac:picMkLst>
        </pc:picChg>
        <pc:picChg chg="del">
          <ac:chgData name="Clark, Connie" userId="73351e60-ad32-4085-a232-1d9f9b189479" providerId="ADAL" clId="{5F87A5E2-C2A2-4F23-BC8C-28F7F5EA6CA7}" dt="2024-03-31T02:07:28.668" v="17958" actId="478"/>
          <ac:picMkLst>
            <pc:docMk/>
            <pc:sldMk cId="1360113053" sldId="2147376830"/>
            <ac:picMk id="5" creationId="{E6AF5ABD-B2B7-C00C-0272-F16FD4B23E7E}"/>
          </ac:picMkLst>
        </pc:picChg>
        <pc:picChg chg="add del mod">
          <ac:chgData name="Clark, Connie" userId="73351e60-ad32-4085-a232-1d9f9b189479" providerId="ADAL" clId="{5F87A5E2-C2A2-4F23-BC8C-28F7F5EA6CA7}" dt="2024-03-31T02:30:19.121" v="18249" actId="1076"/>
          <ac:picMkLst>
            <pc:docMk/>
            <pc:sldMk cId="1360113053" sldId="2147376830"/>
            <ac:picMk id="6" creationId="{BD855F7C-DDE6-A4C5-3B7D-6315A216BF46}"/>
          </ac:picMkLst>
        </pc:picChg>
        <pc:picChg chg="add mod">
          <ac:chgData name="Clark, Connie" userId="73351e60-ad32-4085-a232-1d9f9b189479" providerId="ADAL" clId="{5F87A5E2-C2A2-4F23-BC8C-28F7F5EA6CA7}" dt="2024-03-31T04:16:13.958" v="19945" actId="1076"/>
          <ac:picMkLst>
            <pc:docMk/>
            <pc:sldMk cId="1360113053" sldId="2147376830"/>
            <ac:picMk id="66" creationId="{E1F27605-055C-B48F-1A49-2DEA158CFC55}"/>
          </ac:picMkLst>
        </pc:picChg>
        <pc:picChg chg="add mod">
          <ac:chgData name="Clark, Connie" userId="73351e60-ad32-4085-a232-1d9f9b189479" providerId="ADAL" clId="{5F87A5E2-C2A2-4F23-BC8C-28F7F5EA6CA7}" dt="2024-03-31T04:05:09.434" v="19513"/>
          <ac:picMkLst>
            <pc:docMk/>
            <pc:sldMk cId="1360113053" sldId="2147376830"/>
            <ac:picMk id="68" creationId="{DC85E7AD-F452-E4FA-755B-4FDBABA7D13D}"/>
          </ac:picMkLst>
        </pc:picChg>
        <pc:picChg chg="del">
          <ac:chgData name="Clark, Connie" userId="73351e60-ad32-4085-a232-1d9f9b189479" providerId="ADAL" clId="{5F87A5E2-C2A2-4F23-BC8C-28F7F5EA6CA7}" dt="2024-03-31T02:07:28.668" v="17958" actId="478"/>
          <ac:picMkLst>
            <pc:docMk/>
            <pc:sldMk cId="1360113053" sldId="2147376830"/>
            <ac:picMk id="74" creationId="{280B34D1-3656-1291-1C5B-B12CC2C891F8}"/>
          </ac:picMkLst>
        </pc:picChg>
        <pc:picChg chg="del">
          <ac:chgData name="Clark, Connie" userId="73351e60-ad32-4085-a232-1d9f9b189479" providerId="ADAL" clId="{5F87A5E2-C2A2-4F23-BC8C-28F7F5EA6CA7}" dt="2024-03-31T02:07:30.254" v="17959" actId="478"/>
          <ac:picMkLst>
            <pc:docMk/>
            <pc:sldMk cId="1360113053" sldId="2147376830"/>
            <ac:picMk id="91" creationId="{AC2B28B8-5F1D-DB0B-0E50-11C608D54EF3}"/>
          </ac:picMkLst>
        </pc:picChg>
        <pc:cxnChg chg="del">
          <ac:chgData name="Clark, Connie" userId="73351e60-ad32-4085-a232-1d9f9b189479" providerId="ADAL" clId="{5F87A5E2-C2A2-4F23-BC8C-28F7F5EA6CA7}" dt="2024-03-31T02:07:28.668" v="17958" actId="478"/>
          <ac:cxnSpMkLst>
            <pc:docMk/>
            <pc:sldMk cId="1360113053" sldId="2147376830"/>
            <ac:cxnSpMk id="8" creationId="{AE7BBB2A-25D5-EA97-66FC-1825913DB53D}"/>
          </ac:cxnSpMkLst>
        </pc:cxnChg>
        <pc:cxnChg chg="del">
          <ac:chgData name="Clark, Connie" userId="73351e60-ad32-4085-a232-1d9f9b189479" providerId="ADAL" clId="{5F87A5E2-C2A2-4F23-BC8C-28F7F5EA6CA7}" dt="2024-03-31T02:07:28.668" v="17958" actId="478"/>
          <ac:cxnSpMkLst>
            <pc:docMk/>
            <pc:sldMk cId="1360113053" sldId="2147376830"/>
            <ac:cxnSpMk id="82" creationId="{6AD8AE18-4C39-E1DD-680F-2A4F235D2CCF}"/>
          </ac:cxnSpMkLst>
        </pc:cxnChg>
        <pc:cxnChg chg="del">
          <ac:chgData name="Clark, Connie" userId="73351e60-ad32-4085-a232-1d9f9b189479" providerId="ADAL" clId="{5F87A5E2-C2A2-4F23-BC8C-28F7F5EA6CA7}" dt="2024-03-31T02:07:28.668" v="17958" actId="478"/>
          <ac:cxnSpMkLst>
            <pc:docMk/>
            <pc:sldMk cId="1360113053" sldId="2147376830"/>
            <ac:cxnSpMk id="87" creationId="{9FA73BAC-717C-728C-0C29-7B68E0ED3A4A}"/>
          </ac:cxnSpMkLst>
        </pc:cxnChg>
        <pc:cxnChg chg="del">
          <ac:chgData name="Clark, Connie" userId="73351e60-ad32-4085-a232-1d9f9b189479" providerId="ADAL" clId="{5F87A5E2-C2A2-4F23-BC8C-28F7F5EA6CA7}" dt="2024-03-31T02:07:28.668" v="17958" actId="478"/>
          <ac:cxnSpMkLst>
            <pc:docMk/>
            <pc:sldMk cId="1360113053" sldId="2147376830"/>
            <ac:cxnSpMk id="90" creationId="{7A6D06E0-9716-1F31-4429-DB2CBD129244}"/>
          </ac:cxnSpMkLst>
        </pc:cxnChg>
      </pc:sldChg>
      <pc:sldChg chg="addSp delSp modSp add del mod ord">
        <pc:chgData name="Clark, Connie" userId="73351e60-ad32-4085-a232-1d9f9b189479" providerId="ADAL" clId="{5F87A5E2-C2A2-4F23-BC8C-28F7F5EA6CA7}" dt="2024-05-24T00:09:13.161" v="31035" actId="2696"/>
        <pc:sldMkLst>
          <pc:docMk/>
          <pc:sldMk cId="2051556118" sldId="2147376831"/>
        </pc:sldMkLst>
        <pc:spChg chg="add del mod">
          <ac:chgData name="Clark, Connie" userId="73351e60-ad32-4085-a232-1d9f9b189479" providerId="ADAL" clId="{5F87A5E2-C2A2-4F23-BC8C-28F7F5EA6CA7}" dt="2024-03-31T03:13:47.182" v="18702" actId="478"/>
          <ac:spMkLst>
            <pc:docMk/>
            <pc:sldMk cId="2051556118" sldId="2147376831"/>
            <ac:spMk id="2" creationId="{B07CB8C1-4936-538E-7B5B-520DE54A418F}"/>
          </ac:spMkLst>
        </pc:spChg>
        <pc:spChg chg="add del mod">
          <ac:chgData name="Clark, Connie" userId="73351e60-ad32-4085-a232-1d9f9b189479" providerId="ADAL" clId="{5F87A5E2-C2A2-4F23-BC8C-28F7F5EA6CA7}" dt="2024-03-31T03:12:59.216" v="18689" actId="478"/>
          <ac:spMkLst>
            <pc:docMk/>
            <pc:sldMk cId="2051556118" sldId="2147376831"/>
            <ac:spMk id="3" creationId="{7CEA1B30-F48C-1FE3-D7BE-0B363AD08793}"/>
          </ac:spMkLst>
        </pc:spChg>
        <pc:spChg chg="add del mod">
          <ac:chgData name="Clark, Connie" userId="73351e60-ad32-4085-a232-1d9f9b189479" providerId="ADAL" clId="{5F87A5E2-C2A2-4F23-BC8C-28F7F5EA6CA7}" dt="2024-03-31T03:13:44.421" v="18701" actId="478"/>
          <ac:spMkLst>
            <pc:docMk/>
            <pc:sldMk cId="2051556118" sldId="2147376831"/>
            <ac:spMk id="4" creationId="{97E12369-78EF-76CF-40C2-FF3D0D5EB24B}"/>
          </ac:spMkLst>
        </pc:spChg>
        <pc:spChg chg="add del mod">
          <ac:chgData name="Clark, Connie" userId="73351e60-ad32-4085-a232-1d9f9b189479" providerId="ADAL" clId="{5F87A5E2-C2A2-4F23-BC8C-28F7F5EA6CA7}" dt="2024-03-31T03:11:54.778" v="18668" actId="478"/>
          <ac:spMkLst>
            <pc:docMk/>
            <pc:sldMk cId="2051556118" sldId="2147376831"/>
            <ac:spMk id="5" creationId="{430731EE-7616-8238-F78D-D73FD0F622AA}"/>
          </ac:spMkLst>
        </pc:spChg>
        <pc:spChg chg="add del mod">
          <ac:chgData name="Clark, Connie" userId="73351e60-ad32-4085-a232-1d9f9b189479" providerId="ADAL" clId="{5F87A5E2-C2A2-4F23-BC8C-28F7F5EA6CA7}" dt="2024-03-31T03:11:54.778" v="18668" actId="478"/>
          <ac:spMkLst>
            <pc:docMk/>
            <pc:sldMk cId="2051556118" sldId="2147376831"/>
            <ac:spMk id="6" creationId="{87EE541C-CE28-682C-3C77-4A1F292726A5}"/>
          </ac:spMkLst>
        </pc:spChg>
        <pc:spChg chg="add mod">
          <ac:chgData name="Clark, Connie" userId="73351e60-ad32-4085-a232-1d9f9b189479" providerId="ADAL" clId="{5F87A5E2-C2A2-4F23-BC8C-28F7F5EA6CA7}" dt="2024-03-31T03:19:08.441" v="18774" actId="1076"/>
          <ac:spMkLst>
            <pc:docMk/>
            <pc:sldMk cId="2051556118" sldId="2147376831"/>
            <ac:spMk id="7" creationId="{DA79FF5C-7A3E-2729-01E0-9AD02A3B8C87}"/>
          </ac:spMkLst>
        </pc:spChg>
        <pc:spChg chg="add mod">
          <ac:chgData name="Clark, Connie" userId="73351e60-ad32-4085-a232-1d9f9b189479" providerId="ADAL" clId="{5F87A5E2-C2A2-4F23-BC8C-28F7F5EA6CA7}" dt="2024-04-02T18:27:28.131" v="27129" actId="20577"/>
          <ac:spMkLst>
            <pc:docMk/>
            <pc:sldMk cId="2051556118" sldId="2147376831"/>
            <ac:spMk id="8" creationId="{54A257FB-AAC4-A7CA-7AF4-397EDC15F9C9}"/>
          </ac:spMkLst>
        </pc:spChg>
        <pc:spChg chg="add mod">
          <ac:chgData name="Clark, Connie" userId="73351e60-ad32-4085-a232-1d9f9b189479" providerId="ADAL" clId="{5F87A5E2-C2A2-4F23-BC8C-28F7F5EA6CA7}" dt="2024-03-31T03:19:08.441" v="18774" actId="1076"/>
          <ac:spMkLst>
            <pc:docMk/>
            <pc:sldMk cId="2051556118" sldId="2147376831"/>
            <ac:spMk id="9" creationId="{C981CF0C-055B-4811-8270-2E2E73C72EF2}"/>
          </ac:spMkLst>
        </pc:spChg>
        <pc:spChg chg="add mod">
          <ac:chgData name="Clark, Connie" userId="73351e60-ad32-4085-a232-1d9f9b189479" providerId="ADAL" clId="{5F87A5E2-C2A2-4F23-BC8C-28F7F5EA6CA7}" dt="2024-04-02T18:24:01.957" v="27058" actId="20577"/>
          <ac:spMkLst>
            <pc:docMk/>
            <pc:sldMk cId="2051556118" sldId="2147376831"/>
            <ac:spMk id="10" creationId="{1AE05A3D-2B8C-35E9-D814-ED2FD668263E}"/>
          </ac:spMkLst>
        </pc:spChg>
        <pc:spChg chg="add mod">
          <ac:chgData name="Clark, Connie" userId="73351e60-ad32-4085-a232-1d9f9b189479" providerId="ADAL" clId="{5F87A5E2-C2A2-4F23-BC8C-28F7F5EA6CA7}" dt="2024-03-31T03:19:08.441" v="18774" actId="1076"/>
          <ac:spMkLst>
            <pc:docMk/>
            <pc:sldMk cId="2051556118" sldId="2147376831"/>
            <ac:spMk id="11" creationId="{FAC0463A-3E17-FBFF-9486-1EAD63E5DCA3}"/>
          </ac:spMkLst>
        </pc:spChg>
        <pc:spChg chg="add mod">
          <ac:chgData name="Clark, Connie" userId="73351e60-ad32-4085-a232-1d9f9b189479" providerId="ADAL" clId="{5F87A5E2-C2A2-4F23-BC8C-28F7F5EA6CA7}" dt="2024-04-02T18:10:48.648" v="26476" actId="20577"/>
          <ac:spMkLst>
            <pc:docMk/>
            <pc:sldMk cId="2051556118" sldId="2147376831"/>
            <ac:spMk id="12" creationId="{AD5CF0DA-BEA8-CB8D-81C0-121B878E274D}"/>
          </ac:spMkLst>
        </pc:spChg>
        <pc:spChg chg="add del mod">
          <ac:chgData name="Clark, Connie" userId="73351e60-ad32-4085-a232-1d9f9b189479" providerId="ADAL" clId="{5F87A5E2-C2A2-4F23-BC8C-28F7F5EA6CA7}" dt="2024-03-31T03:14:49.702" v="18707"/>
          <ac:spMkLst>
            <pc:docMk/>
            <pc:sldMk cId="2051556118" sldId="2147376831"/>
            <ac:spMk id="13" creationId="{9801A9DE-7FD0-C7FB-92DB-36F0C0561D15}"/>
          </ac:spMkLst>
        </pc:spChg>
        <pc:spChg chg="add del mod">
          <ac:chgData name="Clark, Connie" userId="73351e60-ad32-4085-a232-1d9f9b189479" providerId="ADAL" clId="{5F87A5E2-C2A2-4F23-BC8C-28F7F5EA6CA7}" dt="2024-03-31T03:14:49.702" v="18707"/>
          <ac:spMkLst>
            <pc:docMk/>
            <pc:sldMk cId="2051556118" sldId="2147376831"/>
            <ac:spMk id="14" creationId="{6BCE23A9-227A-D733-49D7-76EC53E8BA50}"/>
          </ac:spMkLst>
        </pc:spChg>
        <pc:spChg chg="add del mod">
          <ac:chgData name="Clark, Connie" userId="73351e60-ad32-4085-a232-1d9f9b189479" providerId="ADAL" clId="{5F87A5E2-C2A2-4F23-BC8C-28F7F5EA6CA7}" dt="2024-03-31T03:14:49.702" v="18707"/>
          <ac:spMkLst>
            <pc:docMk/>
            <pc:sldMk cId="2051556118" sldId="2147376831"/>
            <ac:spMk id="15" creationId="{82DC2F4E-2450-8F8F-21F3-77F14AFBA602}"/>
          </ac:spMkLst>
        </pc:spChg>
        <pc:spChg chg="add del mod">
          <ac:chgData name="Clark, Connie" userId="73351e60-ad32-4085-a232-1d9f9b189479" providerId="ADAL" clId="{5F87A5E2-C2A2-4F23-BC8C-28F7F5EA6CA7}" dt="2024-03-31T03:14:49.702" v="18707"/>
          <ac:spMkLst>
            <pc:docMk/>
            <pc:sldMk cId="2051556118" sldId="2147376831"/>
            <ac:spMk id="16" creationId="{20297D6A-8D11-26FA-A761-782E50A674CB}"/>
          </ac:spMkLst>
        </pc:spChg>
        <pc:spChg chg="add del mod">
          <ac:chgData name="Clark, Connie" userId="73351e60-ad32-4085-a232-1d9f9b189479" providerId="ADAL" clId="{5F87A5E2-C2A2-4F23-BC8C-28F7F5EA6CA7}" dt="2024-03-31T03:14:49.702" v="18707"/>
          <ac:spMkLst>
            <pc:docMk/>
            <pc:sldMk cId="2051556118" sldId="2147376831"/>
            <ac:spMk id="17" creationId="{5B41D1BB-4E28-F257-8BC2-28B9FF18D3B2}"/>
          </ac:spMkLst>
        </pc:spChg>
        <pc:spChg chg="add del mod">
          <ac:chgData name="Clark, Connie" userId="73351e60-ad32-4085-a232-1d9f9b189479" providerId="ADAL" clId="{5F87A5E2-C2A2-4F23-BC8C-28F7F5EA6CA7}" dt="2024-03-31T03:14:49.702" v="18707"/>
          <ac:spMkLst>
            <pc:docMk/>
            <pc:sldMk cId="2051556118" sldId="2147376831"/>
            <ac:spMk id="18" creationId="{18ABE3C8-E22E-8BB6-806E-C3CF1E6EE429}"/>
          </ac:spMkLst>
        </pc:spChg>
        <pc:spChg chg="add del mod">
          <ac:chgData name="Clark, Connie" userId="73351e60-ad32-4085-a232-1d9f9b189479" providerId="ADAL" clId="{5F87A5E2-C2A2-4F23-BC8C-28F7F5EA6CA7}" dt="2024-03-31T03:14:49.702" v="18707"/>
          <ac:spMkLst>
            <pc:docMk/>
            <pc:sldMk cId="2051556118" sldId="2147376831"/>
            <ac:spMk id="20" creationId="{02A0DF2A-3C00-FFDF-9942-0DF14071D6CD}"/>
          </ac:spMkLst>
        </pc:spChg>
        <pc:spChg chg="add del mod">
          <ac:chgData name="Clark, Connie" userId="73351e60-ad32-4085-a232-1d9f9b189479" providerId="ADAL" clId="{5F87A5E2-C2A2-4F23-BC8C-28F7F5EA6CA7}" dt="2024-03-31T03:14:49.702" v="18707"/>
          <ac:spMkLst>
            <pc:docMk/>
            <pc:sldMk cId="2051556118" sldId="2147376831"/>
            <ac:spMk id="21" creationId="{E196396C-6D74-BF2C-97BA-CA33A62610C4}"/>
          </ac:spMkLst>
        </pc:spChg>
        <pc:spChg chg="add del mod">
          <ac:chgData name="Clark, Connie" userId="73351e60-ad32-4085-a232-1d9f9b189479" providerId="ADAL" clId="{5F87A5E2-C2A2-4F23-BC8C-28F7F5EA6CA7}" dt="2024-03-31T03:14:49.702" v="18707"/>
          <ac:spMkLst>
            <pc:docMk/>
            <pc:sldMk cId="2051556118" sldId="2147376831"/>
            <ac:spMk id="22" creationId="{9DF3E34D-EC5C-6997-A6F3-6939C881F10F}"/>
          </ac:spMkLst>
        </pc:spChg>
        <pc:spChg chg="add del mod">
          <ac:chgData name="Clark, Connie" userId="73351e60-ad32-4085-a232-1d9f9b189479" providerId="ADAL" clId="{5F87A5E2-C2A2-4F23-BC8C-28F7F5EA6CA7}" dt="2024-03-31T03:18:12.922" v="18733" actId="478"/>
          <ac:spMkLst>
            <pc:docMk/>
            <pc:sldMk cId="2051556118" sldId="2147376831"/>
            <ac:spMk id="23" creationId="{4FF94C29-B0F1-B2A7-4B8C-780279EC3A3B}"/>
          </ac:spMkLst>
        </pc:spChg>
        <pc:spChg chg="add del mod">
          <ac:chgData name="Clark, Connie" userId="73351e60-ad32-4085-a232-1d9f9b189479" providerId="ADAL" clId="{5F87A5E2-C2A2-4F23-BC8C-28F7F5EA6CA7}" dt="2024-03-31T03:18:12.922" v="18733" actId="478"/>
          <ac:spMkLst>
            <pc:docMk/>
            <pc:sldMk cId="2051556118" sldId="2147376831"/>
            <ac:spMk id="24" creationId="{D352B806-6DBB-D2A3-535C-C5491C218AF6}"/>
          </ac:spMkLst>
        </pc:spChg>
        <pc:spChg chg="add del mod">
          <ac:chgData name="Clark, Connie" userId="73351e60-ad32-4085-a232-1d9f9b189479" providerId="ADAL" clId="{5F87A5E2-C2A2-4F23-BC8C-28F7F5EA6CA7}" dt="2024-03-31T03:18:16.730" v="18734" actId="478"/>
          <ac:spMkLst>
            <pc:docMk/>
            <pc:sldMk cId="2051556118" sldId="2147376831"/>
            <ac:spMk id="25" creationId="{A399908C-E102-F34F-0698-7B603AF3CD1E}"/>
          </ac:spMkLst>
        </pc:spChg>
        <pc:spChg chg="add del mod">
          <ac:chgData name="Clark, Connie" userId="73351e60-ad32-4085-a232-1d9f9b189479" providerId="ADAL" clId="{5F87A5E2-C2A2-4F23-BC8C-28F7F5EA6CA7}" dt="2024-03-31T03:18:12.922" v="18733" actId="478"/>
          <ac:spMkLst>
            <pc:docMk/>
            <pc:sldMk cId="2051556118" sldId="2147376831"/>
            <ac:spMk id="26" creationId="{D5151E06-7EAB-1FA7-3A64-D66BADEA3788}"/>
          </ac:spMkLst>
        </pc:spChg>
        <pc:spChg chg="add del mod">
          <ac:chgData name="Clark, Connie" userId="73351e60-ad32-4085-a232-1d9f9b189479" providerId="ADAL" clId="{5F87A5E2-C2A2-4F23-BC8C-28F7F5EA6CA7}" dt="2024-03-31T03:18:19.047" v="18735" actId="478"/>
          <ac:spMkLst>
            <pc:docMk/>
            <pc:sldMk cId="2051556118" sldId="2147376831"/>
            <ac:spMk id="27" creationId="{53163C05-56E2-9677-7D9C-DE44443D3787}"/>
          </ac:spMkLst>
        </pc:spChg>
        <pc:spChg chg="mod">
          <ac:chgData name="Clark, Connie" userId="73351e60-ad32-4085-a232-1d9f9b189479" providerId="ADAL" clId="{5F87A5E2-C2A2-4F23-BC8C-28F7F5EA6CA7}" dt="2024-04-02T18:24:54.386" v="27074" actId="20577"/>
          <ac:spMkLst>
            <pc:docMk/>
            <pc:sldMk cId="2051556118" sldId="2147376831"/>
            <ac:spMk id="28" creationId="{1F8DDD3D-F18B-23CB-BD17-0E093682ED6F}"/>
          </ac:spMkLst>
        </pc:spChg>
        <pc:spChg chg="add del mod">
          <ac:chgData name="Clark, Connie" userId="73351e60-ad32-4085-a232-1d9f9b189479" providerId="ADAL" clId="{5F87A5E2-C2A2-4F23-BC8C-28F7F5EA6CA7}" dt="2024-03-31T03:18:12.922" v="18733" actId="478"/>
          <ac:spMkLst>
            <pc:docMk/>
            <pc:sldMk cId="2051556118" sldId="2147376831"/>
            <ac:spMk id="29" creationId="{B0A28C60-43B7-8B27-598F-C9212844F18E}"/>
          </ac:spMkLst>
        </pc:spChg>
        <pc:spChg chg="add del mod">
          <ac:chgData name="Clark, Connie" userId="73351e60-ad32-4085-a232-1d9f9b189479" providerId="ADAL" clId="{5F87A5E2-C2A2-4F23-BC8C-28F7F5EA6CA7}" dt="2024-03-31T03:18:12.922" v="18733" actId="478"/>
          <ac:spMkLst>
            <pc:docMk/>
            <pc:sldMk cId="2051556118" sldId="2147376831"/>
            <ac:spMk id="30" creationId="{ABF8D5E6-A364-D6D8-27F9-714CB1806003}"/>
          </ac:spMkLst>
        </pc:spChg>
        <pc:spChg chg="add del mod">
          <ac:chgData name="Clark, Connie" userId="73351e60-ad32-4085-a232-1d9f9b189479" providerId="ADAL" clId="{5F87A5E2-C2A2-4F23-BC8C-28F7F5EA6CA7}" dt="2024-03-31T03:18:12.922" v="18733" actId="478"/>
          <ac:spMkLst>
            <pc:docMk/>
            <pc:sldMk cId="2051556118" sldId="2147376831"/>
            <ac:spMk id="31" creationId="{2EA7A39E-39A8-2FED-1689-FDE312B2DDF0}"/>
          </ac:spMkLst>
        </pc:spChg>
        <pc:spChg chg="add del mod">
          <ac:chgData name="Clark, Connie" userId="73351e60-ad32-4085-a232-1d9f9b189479" providerId="ADAL" clId="{5F87A5E2-C2A2-4F23-BC8C-28F7F5EA6CA7}" dt="2024-03-31T03:18:12.922" v="18733" actId="478"/>
          <ac:spMkLst>
            <pc:docMk/>
            <pc:sldMk cId="2051556118" sldId="2147376831"/>
            <ac:spMk id="64" creationId="{93E1C1F7-051E-1B87-D656-53268E49A812}"/>
          </ac:spMkLst>
        </pc:spChg>
        <pc:spChg chg="add del mod">
          <ac:chgData name="Clark, Connie" userId="73351e60-ad32-4085-a232-1d9f9b189479" providerId="ADAL" clId="{5F87A5E2-C2A2-4F23-BC8C-28F7F5EA6CA7}" dt="2024-03-31T03:16:14.970" v="18714"/>
          <ac:spMkLst>
            <pc:docMk/>
            <pc:sldMk cId="2051556118" sldId="2147376831"/>
            <ac:spMk id="65" creationId="{7B1EDDBF-707C-C59B-1EC9-27281EA9D690}"/>
          </ac:spMkLst>
        </pc:spChg>
        <pc:spChg chg="add del mod">
          <ac:chgData name="Clark, Connie" userId="73351e60-ad32-4085-a232-1d9f9b189479" providerId="ADAL" clId="{5F87A5E2-C2A2-4F23-BC8C-28F7F5EA6CA7}" dt="2024-03-31T03:16:14.970" v="18714"/>
          <ac:spMkLst>
            <pc:docMk/>
            <pc:sldMk cId="2051556118" sldId="2147376831"/>
            <ac:spMk id="66" creationId="{036A1C5C-2363-778A-9AEA-16FB438C3211}"/>
          </ac:spMkLst>
        </pc:spChg>
        <pc:spChg chg="add del mod">
          <ac:chgData name="Clark, Connie" userId="73351e60-ad32-4085-a232-1d9f9b189479" providerId="ADAL" clId="{5F87A5E2-C2A2-4F23-BC8C-28F7F5EA6CA7}" dt="2024-03-31T03:16:14.970" v="18714"/>
          <ac:spMkLst>
            <pc:docMk/>
            <pc:sldMk cId="2051556118" sldId="2147376831"/>
            <ac:spMk id="67" creationId="{CF7C9B58-441E-0B14-E92B-8348733F218F}"/>
          </ac:spMkLst>
        </pc:spChg>
        <pc:spChg chg="add del mod">
          <ac:chgData name="Clark, Connie" userId="73351e60-ad32-4085-a232-1d9f9b189479" providerId="ADAL" clId="{5F87A5E2-C2A2-4F23-BC8C-28F7F5EA6CA7}" dt="2024-03-31T03:17:09.685" v="18722"/>
          <ac:spMkLst>
            <pc:docMk/>
            <pc:sldMk cId="2051556118" sldId="2147376831"/>
            <ac:spMk id="71" creationId="{A250E46A-5F33-20D9-485A-6A3E1F936136}"/>
          </ac:spMkLst>
        </pc:spChg>
        <pc:spChg chg="add del mod">
          <ac:chgData name="Clark, Connie" userId="73351e60-ad32-4085-a232-1d9f9b189479" providerId="ADAL" clId="{5F87A5E2-C2A2-4F23-BC8C-28F7F5EA6CA7}" dt="2024-03-31T03:17:09.685" v="18722"/>
          <ac:spMkLst>
            <pc:docMk/>
            <pc:sldMk cId="2051556118" sldId="2147376831"/>
            <ac:spMk id="72" creationId="{C06CF77F-B423-01D0-7BC5-D34F2AEFC1E5}"/>
          </ac:spMkLst>
        </pc:spChg>
        <pc:spChg chg="add del mod">
          <ac:chgData name="Clark, Connie" userId="73351e60-ad32-4085-a232-1d9f9b189479" providerId="ADAL" clId="{5F87A5E2-C2A2-4F23-BC8C-28F7F5EA6CA7}" dt="2024-03-31T03:17:09.685" v="18722"/>
          <ac:spMkLst>
            <pc:docMk/>
            <pc:sldMk cId="2051556118" sldId="2147376831"/>
            <ac:spMk id="73" creationId="{D7AFA776-8AA7-10E5-6247-8371BAF4344E}"/>
          </ac:spMkLst>
        </pc:spChg>
        <pc:spChg chg="add del mod">
          <ac:chgData name="Clark, Connie" userId="73351e60-ad32-4085-a232-1d9f9b189479" providerId="ADAL" clId="{5F87A5E2-C2A2-4F23-BC8C-28F7F5EA6CA7}" dt="2024-03-31T03:17:53.767" v="18729"/>
          <ac:spMkLst>
            <pc:docMk/>
            <pc:sldMk cId="2051556118" sldId="2147376831"/>
            <ac:spMk id="75" creationId="{2B9FFCA6-1ABC-47FA-1AF4-9EDFCB70A381}"/>
          </ac:spMkLst>
        </pc:spChg>
        <pc:spChg chg="add del mod">
          <ac:chgData name="Clark, Connie" userId="73351e60-ad32-4085-a232-1d9f9b189479" providerId="ADAL" clId="{5F87A5E2-C2A2-4F23-BC8C-28F7F5EA6CA7}" dt="2024-03-31T03:17:53.767" v="18729"/>
          <ac:spMkLst>
            <pc:docMk/>
            <pc:sldMk cId="2051556118" sldId="2147376831"/>
            <ac:spMk id="76" creationId="{1506646C-8F0D-F830-C07C-725DEC1A2C46}"/>
          </ac:spMkLst>
        </pc:spChg>
        <pc:spChg chg="add del mod">
          <ac:chgData name="Clark, Connie" userId="73351e60-ad32-4085-a232-1d9f9b189479" providerId="ADAL" clId="{5F87A5E2-C2A2-4F23-BC8C-28F7F5EA6CA7}" dt="2024-03-31T03:17:53.767" v="18729"/>
          <ac:spMkLst>
            <pc:docMk/>
            <pc:sldMk cId="2051556118" sldId="2147376831"/>
            <ac:spMk id="77" creationId="{5D599866-645B-9C1A-E8EA-DBD06A7B73B3}"/>
          </ac:spMkLst>
        </pc:spChg>
        <pc:spChg chg="add del mod">
          <ac:chgData name="Clark, Connie" userId="73351e60-ad32-4085-a232-1d9f9b189479" providerId="ADAL" clId="{5F87A5E2-C2A2-4F23-BC8C-28F7F5EA6CA7}" dt="2024-04-02T18:24:27.009" v="27059" actId="478"/>
          <ac:spMkLst>
            <pc:docMk/>
            <pc:sldMk cId="2051556118" sldId="2147376831"/>
            <ac:spMk id="79" creationId="{2885F694-44AF-738A-EE39-4526EE13AAC6}"/>
          </ac:spMkLst>
        </pc:spChg>
        <pc:spChg chg="add del">
          <ac:chgData name="Clark, Connie" userId="73351e60-ad32-4085-a232-1d9f9b189479" providerId="ADAL" clId="{5F87A5E2-C2A2-4F23-BC8C-28F7F5EA6CA7}" dt="2024-04-02T18:25:28.123" v="27076" actId="478"/>
          <ac:spMkLst>
            <pc:docMk/>
            <pc:sldMk cId="2051556118" sldId="2147376831"/>
            <ac:spMk id="80" creationId="{A6D6E9B1-0882-C5E2-713C-BC806B2C599B}"/>
          </ac:spMkLst>
        </pc:spChg>
        <pc:spChg chg="add mod">
          <ac:chgData name="Clark, Connie" userId="73351e60-ad32-4085-a232-1d9f9b189479" providerId="ADAL" clId="{5F87A5E2-C2A2-4F23-BC8C-28F7F5EA6CA7}" dt="2024-04-02T18:26:18.452" v="27084" actId="207"/>
          <ac:spMkLst>
            <pc:docMk/>
            <pc:sldMk cId="2051556118" sldId="2147376831"/>
            <ac:spMk id="81" creationId="{47F55B9D-5C64-E183-430C-0E7659D97DAA}"/>
          </ac:spMkLst>
        </pc:spChg>
        <pc:picChg chg="add mod">
          <ac:chgData name="Clark, Connie" userId="73351e60-ad32-4085-a232-1d9f9b189479" providerId="ADAL" clId="{5F87A5E2-C2A2-4F23-BC8C-28F7F5EA6CA7}" dt="2024-03-31T03:19:08.441" v="18774" actId="1076"/>
          <ac:picMkLst>
            <pc:docMk/>
            <pc:sldMk cId="2051556118" sldId="2147376831"/>
            <ac:picMk id="68" creationId="{2ADCE235-5C7E-48BE-0662-4146D7118CFD}"/>
          </ac:picMkLst>
        </pc:picChg>
        <pc:picChg chg="add mod">
          <ac:chgData name="Clark, Connie" userId="73351e60-ad32-4085-a232-1d9f9b189479" providerId="ADAL" clId="{5F87A5E2-C2A2-4F23-BC8C-28F7F5EA6CA7}" dt="2024-03-31T03:19:08.441" v="18774" actId="1076"/>
          <ac:picMkLst>
            <pc:docMk/>
            <pc:sldMk cId="2051556118" sldId="2147376831"/>
            <ac:picMk id="74" creationId="{D56D9F40-D510-EA80-DA17-2B747728735A}"/>
          </ac:picMkLst>
        </pc:picChg>
        <pc:picChg chg="add mod">
          <ac:chgData name="Clark, Connie" userId="73351e60-ad32-4085-a232-1d9f9b189479" providerId="ADAL" clId="{5F87A5E2-C2A2-4F23-BC8C-28F7F5EA6CA7}" dt="2024-03-31T03:19:08.441" v="18774" actId="1076"/>
          <ac:picMkLst>
            <pc:docMk/>
            <pc:sldMk cId="2051556118" sldId="2147376831"/>
            <ac:picMk id="78" creationId="{3F5D263E-0034-C755-0487-315D6D9A8A3C}"/>
          </ac:picMkLst>
        </pc:picChg>
      </pc:sldChg>
      <pc:sldChg chg="addSp modSp add del mod">
        <pc:chgData name="Clark, Connie" userId="73351e60-ad32-4085-a232-1d9f9b189479" providerId="ADAL" clId="{5F87A5E2-C2A2-4F23-BC8C-28F7F5EA6CA7}" dt="2024-05-24T00:09:13.161" v="31035" actId="2696"/>
        <pc:sldMkLst>
          <pc:docMk/>
          <pc:sldMk cId="2781642743" sldId="2147376832"/>
        </pc:sldMkLst>
        <pc:spChg chg="add mod">
          <ac:chgData name="Clark, Connie" userId="73351e60-ad32-4085-a232-1d9f9b189479" providerId="ADAL" clId="{5F87A5E2-C2A2-4F23-BC8C-28F7F5EA6CA7}" dt="2024-03-31T03:24:53.098" v="18844" actId="14100"/>
          <ac:spMkLst>
            <pc:docMk/>
            <pc:sldMk cId="2781642743" sldId="2147376832"/>
            <ac:spMk id="4" creationId="{3D3EAAC6-9954-2F17-AEE7-DA5E6C1128CD}"/>
          </ac:spMkLst>
        </pc:spChg>
        <pc:spChg chg="mod">
          <ac:chgData name="Clark, Connie" userId="73351e60-ad32-4085-a232-1d9f9b189479" providerId="ADAL" clId="{5F87A5E2-C2A2-4F23-BC8C-28F7F5EA6CA7}" dt="2024-03-31T13:13:10.758" v="21547" actId="14100"/>
          <ac:spMkLst>
            <pc:docMk/>
            <pc:sldMk cId="2781642743" sldId="2147376832"/>
            <ac:spMk id="28" creationId="{1F8DDD3D-F18B-23CB-BD17-0E093682ED6F}"/>
          </ac:spMkLst>
        </pc:spChg>
        <pc:picChg chg="add mod">
          <ac:chgData name="Clark, Connie" userId="73351e60-ad32-4085-a232-1d9f9b189479" providerId="ADAL" clId="{5F87A5E2-C2A2-4F23-BC8C-28F7F5EA6CA7}" dt="2024-05-22T22:11:44.462" v="27826" actId="1076"/>
          <ac:picMkLst>
            <pc:docMk/>
            <pc:sldMk cId="2781642743" sldId="2147376832"/>
            <ac:picMk id="3" creationId="{65385624-2CE4-F7A8-F6E6-64906690CA0F}"/>
          </ac:picMkLst>
        </pc:picChg>
      </pc:sldChg>
      <pc:sldChg chg="addSp delSp modSp add mod">
        <pc:chgData name="Clark, Connie" userId="73351e60-ad32-4085-a232-1d9f9b189479" providerId="ADAL" clId="{5F87A5E2-C2A2-4F23-BC8C-28F7F5EA6CA7}" dt="2024-04-01T04:41:10.340" v="26352" actId="1076"/>
        <pc:sldMkLst>
          <pc:docMk/>
          <pc:sldMk cId="2636110817" sldId="2147376833"/>
        </pc:sldMkLst>
        <pc:spChg chg="add mod">
          <ac:chgData name="Clark, Connie" userId="73351e60-ad32-4085-a232-1d9f9b189479" providerId="ADAL" clId="{5F87A5E2-C2A2-4F23-BC8C-28F7F5EA6CA7}" dt="2024-03-31T03:42:29.873" v="19377" actId="1076"/>
          <ac:spMkLst>
            <pc:docMk/>
            <pc:sldMk cId="2636110817" sldId="2147376833"/>
            <ac:spMk id="2" creationId="{E943B176-0606-C5FD-BFF0-CC7A905B07B9}"/>
          </ac:spMkLst>
        </pc:spChg>
        <pc:spChg chg="add mod">
          <ac:chgData name="Clark, Connie" userId="73351e60-ad32-4085-a232-1d9f9b189479" providerId="ADAL" clId="{5F87A5E2-C2A2-4F23-BC8C-28F7F5EA6CA7}" dt="2024-03-31T03:42:29.873" v="19377" actId="1076"/>
          <ac:spMkLst>
            <pc:docMk/>
            <pc:sldMk cId="2636110817" sldId="2147376833"/>
            <ac:spMk id="3" creationId="{9CDEC211-3F8B-4308-95AE-20B341BAAD07}"/>
          </ac:spMkLst>
        </pc:spChg>
        <pc:spChg chg="add del mod">
          <ac:chgData name="Clark, Connie" userId="73351e60-ad32-4085-a232-1d9f9b189479" providerId="ADAL" clId="{5F87A5E2-C2A2-4F23-BC8C-28F7F5EA6CA7}" dt="2024-03-31T03:28:49.412" v="18889" actId="478"/>
          <ac:spMkLst>
            <pc:docMk/>
            <pc:sldMk cId="2636110817" sldId="2147376833"/>
            <ac:spMk id="4" creationId="{4D71EE72-01D9-EEFC-2E58-53EA11B3C922}"/>
          </ac:spMkLst>
        </pc:spChg>
        <pc:spChg chg="add mod">
          <ac:chgData name="Clark, Connie" userId="73351e60-ad32-4085-a232-1d9f9b189479" providerId="ADAL" clId="{5F87A5E2-C2A2-4F23-BC8C-28F7F5EA6CA7}" dt="2024-03-31T03:42:39.517" v="19378" actId="1076"/>
          <ac:spMkLst>
            <pc:docMk/>
            <pc:sldMk cId="2636110817" sldId="2147376833"/>
            <ac:spMk id="7" creationId="{D8493AEC-B0AD-6127-6C2E-9F99F679D24F}"/>
          </ac:spMkLst>
        </pc:spChg>
        <pc:spChg chg="add mod">
          <ac:chgData name="Clark, Connie" userId="73351e60-ad32-4085-a232-1d9f9b189479" providerId="ADAL" clId="{5F87A5E2-C2A2-4F23-BC8C-28F7F5EA6CA7}" dt="2024-03-31T03:42:39.517" v="19378" actId="1076"/>
          <ac:spMkLst>
            <pc:docMk/>
            <pc:sldMk cId="2636110817" sldId="2147376833"/>
            <ac:spMk id="8" creationId="{40BF50D3-1EF4-57A9-56C4-A8900AA0F883}"/>
          </ac:spMkLst>
        </pc:spChg>
        <pc:spChg chg="add mod">
          <ac:chgData name="Clark, Connie" userId="73351e60-ad32-4085-a232-1d9f9b189479" providerId="ADAL" clId="{5F87A5E2-C2A2-4F23-BC8C-28F7F5EA6CA7}" dt="2024-03-31T03:57:31.729" v="19417" actId="1076"/>
          <ac:spMkLst>
            <pc:docMk/>
            <pc:sldMk cId="2636110817" sldId="2147376833"/>
            <ac:spMk id="10" creationId="{EDFCEF7E-1C97-57F5-A2A5-46E1ACD8077C}"/>
          </ac:spMkLst>
        </pc:spChg>
        <pc:spChg chg="add mod">
          <ac:chgData name="Clark, Connie" userId="73351e60-ad32-4085-a232-1d9f9b189479" providerId="ADAL" clId="{5F87A5E2-C2A2-4F23-BC8C-28F7F5EA6CA7}" dt="2024-03-31T03:57:31.729" v="19417" actId="1076"/>
          <ac:spMkLst>
            <pc:docMk/>
            <pc:sldMk cId="2636110817" sldId="2147376833"/>
            <ac:spMk id="11" creationId="{CAF07647-74B1-CC42-5B8D-7769656FBEB1}"/>
          </ac:spMkLst>
        </pc:spChg>
        <pc:spChg chg="add mod">
          <ac:chgData name="Clark, Connie" userId="73351e60-ad32-4085-a232-1d9f9b189479" providerId="ADAL" clId="{5F87A5E2-C2A2-4F23-BC8C-28F7F5EA6CA7}" dt="2024-03-31T03:56:28.742" v="19407" actId="1076"/>
          <ac:spMkLst>
            <pc:docMk/>
            <pc:sldMk cId="2636110817" sldId="2147376833"/>
            <ac:spMk id="14" creationId="{786FD2B5-D312-4B5B-15A9-7C56165754DD}"/>
          </ac:spMkLst>
        </pc:spChg>
        <pc:spChg chg="add mod">
          <ac:chgData name="Clark, Connie" userId="73351e60-ad32-4085-a232-1d9f9b189479" providerId="ADAL" clId="{5F87A5E2-C2A2-4F23-BC8C-28F7F5EA6CA7}" dt="2024-03-31T03:58:07.718" v="19425" actId="14100"/>
          <ac:spMkLst>
            <pc:docMk/>
            <pc:sldMk cId="2636110817" sldId="2147376833"/>
            <ac:spMk id="15" creationId="{748F0702-A7EF-A575-E74D-70314360A5CC}"/>
          </ac:spMkLst>
        </pc:spChg>
        <pc:spChg chg="add mod">
          <ac:chgData name="Clark, Connie" userId="73351e60-ad32-4085-a232-1d9f9b189479" providerId="ADAL" clId="{5F87A5E2-C2A2-4F23-BC8C-28F7F5EA6CA7}" dt="2024-03-31T03:56:21.190" v="19406" actId="14100"/>
          <ac:spMkLst>
            <pc:docMk/>
            <pc:sldMk cId="2636110817" sldId="2147376833"/>
            <ac:spMk id="17" creationId="{89E68998-8D5A-10D7-39BE-80F67DC16418}"/>
          </ac:spMkLst>
        </pc:spChg>
        <pc:spChg chg="add del mod">
          <ac:chgData name="Clark, Connie" userId="73351e60-ad32-4085-a232-1d9f9b189479" providerId="ADAL" clId="{5F87A5E2-C2A2-4F23-BC8C-28F7F5EA6CA7}" dt="2024-03-31T03:58:04.369" v="19424" actId="478"/>
          <ac:spMkLst>
            <pc:docMk/>
            <pc:sldMk cId="2636110817" sldId="2147376833"/>
            <ac:spMk id="18" creationId="{B9E2CF20-6D5E-069D-1C30-A3707CE6AFD6}"/>
          </ac:spMkLst>
        </pc:spChg>
        <pc:spChg chg="add del mod">
          <ac:chgData name="Clark, Connie" userId="73351e60-ad32-4085-a232-1d9f9b189479" providerId="ADAL" clId="{5F87A5E2-C2A2-4F23-BC8C-28F7F5EA6CA7}" dt="2024-03-31T03:58:04.369" v="19424" actId="478"/>
          <ac:spMkLst>
            <pc:docMk/>
            <pc:sldMk cId="2636110817" sldId="2147376833"/>
            <ac:spMk id="21" creationId="{782F0259-6794-BEF6-E63B-4011C690F6AC}"/>
          </ac:spMkLst>
        </pc:spChg>
        <pc:spChg chg="add mod">
          <ac:chgData name="Clark, Connie" userId="73351e60-ad32-4085-a232-1d9f9b189479" providerId="ADAL" clId="{5F87A5E2-C2A2-4F23-BC8C-28F7F5EA6CA7}" dt="2024-04-01T04:41:10.340" v="26352" actId="1076"/>
          <ac:spMkLst>
            <pc:docMk/>
            <pc:sldMk cId="2636110817" sldId="2147376833"/>
            <ac:spMk id="22" creationId="{3962CF53-DB13-EA39-F4EF-DF687188ACF6}"/>
          </ac:spMkLst>
        </pc:spChg>
        <pc:spChg chg="add mod">
          <ac:chgData name="Clark, Connie" userId="73351e60-ad32-4085-a232-1d9f9b189479" providerId="ADAL" clId="{5F87A5E2-C2A2-4F23-BC8C-28F7F5EA6CA7}" dt="2024-03-31T03:59:54.063" v="19446" actId="1076"/>
          <ac:spMkLst>
            <pc:docMk/>
            <pc:sldMk cId="2636110817" sldId="2147376833"/>
            <ac:spMk id="23" creationId="{5BEE4619-F0E3-5163-6ED4-441B85C79AA3}"/>
          </ac:spMkLst>
        </pc:spChg>
        <pc:spChg chg="add mod">
          <ac:chgData name="Clark, Connie" userId="73351e60-ad32-4085-a232-1d9f9b189479" providerId="ADAL" clId="{5F87A5E2-C2A2-4F23-BC8C-28F7F5EA6CA7}" dt="2024-03-31T03:58:21.876" v="19427" actId="1076"/>
          <ac:spMkLst>
            <pc:docMk/>
            <pc:sldMk cId="2636110817" sldId="2147376833"/>
            <ac:spMk id="25" creationId="{47BC0429-1991-FFC1-9DA7-7A485C24DC75}"/>
          </ac:spMkLst>
        </pc:spChg>
        <pc:spChg chg="add del mod">
          <ac:chgData name="Clark, Connie" userId="73351e60-ad32-4085-a232-1d9f9b189479" providerId="ADAL" clId="{5F87A5E2-C2A2-4F23-BC8C-28F7F5EA6CA7}" dt="2024-03-31T04:00:08.819" v="19448"/>
          <ac:spMkLst>
            <pc:docMk/>
            <pc:sldMk cId="2636110817" sldId="2147376833"/>
            <ac:spMk id="26" creationId="{F9BC417C-9609-B597-8F3C-C3EA15333316}"/>
          </ac:spMkLst>
        </pc:spChg>
        <pc:spChg chg="add del mod">
          <ac:chgData name="Clark, Connie" userId="73351e60-ad32-4085-a232-1d9f9b189479" providerId="ADAL" clId="{5F87A5E2-C2A2-4F23-BC8C-28F7F5EA6CA7}" dt="2024-03-31T04:00:08.819" v="19448"/>
          <ac:spMkLst>
            <pc:docMk/>
            <pc:sldMk cId="2636110817" sldId="2147376833"/>
            <ac:spMk id="27" creationId="{EDEAEDB2-3933-67DE-82CD-AE4771CC9452}"/>
          </ac:spMkLst>
        </pc:spChg>
        <pc:spChg chg="mod">
          <ac:chgData name="Clark, Connie" userId="73351e60-ad32-4085-a232-1d9f9b189479" providerId="ADAL" clId="{5F87A5E2-C2A2-4F23-BC8C-28F7F5EA6CA7}" dt="2024-03-31T04:17:09.256" v="19954" actId="20577"/>
          <ac:spMkLst>
            <pc:docMk/>
            <pc:sldMk cId="2636110817" sldId="2147376833"/>
            <ac:spMk id="28" creationId="{1F8DDD3D-F18B-23CB-BD17-0E093682ED6F}"/>
          </ac:spMkLst>
        </pc:spChg>
        <pc:spChg chg="add del mod">
          <ac:chgData name="Clark, Connie" userId="73351e60-ad32-4085-a232-1d9f9b189479" providerId="ADAL" clId="{5F87A5E2-C2A2-4F23-BC8C-28F7F5EA6CA7}" dt="2024-03-31T04:00:08.819" v="19448"/>
          <ac:spMkLst>
            <pc:docMk/>
            <pc:sldMk cId="2636110817" sldId="2147376833"/>
            <ac:spMk id="30" creationId="{52592F27-2376-DC51-8AF7-8A304A29BECC}"/>
          </ac:spMkLst>
        </pc:spChg>
        <pc:picChg chg="add mod">
          <ac:chgData name="Clark, Connie" userId="73351e60-ad32-4085-a232-1d9f9b189479" providerId="ADAL" clId="{5F87A5E2-C2A2-4F23-BC8C-28F7F5EA6CA7}" dt="2024-03-31T03:42:29.873" v="19377" actId="1076"/>
          <ac:picMkLst>
            <pc:docMk/>
            <pc:sldMk cId="2636110817" sldId="2147376833"/>
            <ac:picMk id="6" creationId="{0F678275-8D2E-C876-659D-2F8D5FB8A577}"/>
          </ac:picMkLst>
        </pc:picChg>
        <pc:picChg chg="add mod">
          <ac:chgData name="Clark, Connie" userId="73351e60-ad32-4085-a232-1d9f9b189479" providerId="ADAL" clId="{5F87A5E2-C2A2-4F23-BC8C-28F7F5EA6CA7}" dt="2024-03-31T03:42:39.517" v="19378" actId="1076"/>
          <ac:picMkLst>
            <pc:docMk/>
            <pc:sldMk cId="2636110817" sldId="2147376833"/>
            <ac:picMk id="9" creationId="{A4E17F6A-FBA2-652C-C2CD-484E736B408D}"/>
          </ac:picMkLst>
        </pc:picChg>
        <pc:picChg chg="add del mod">
          <ac:chgData name="Clark, Connie" userId="73351e60-ad32-4085-a232-1d9f9b189479" providerId="ADAL" clId="{5F87A5E2-C2A2-4F23-BC8C-28F7F5EA6CA7}" dt="2024-03-31T03:43:34.567" v="19382" actId="478"/>
          <ac:picMkLst>
            <pc:docMk/>
            <pc:sldMk cId="2636110817" sldId="2147376833"/>
            <ac:picMk id="12" creationId="{11D9F6BA-947A-13A8-0337-17B83226D01D}"/>
          </ac:picMkLst>
        </pc:picChg>
        <pc:picChg chg="add mod">
          <ac:chgData name="Clark, Connie" userId="73351e60-ad32-4085-a232-1d9f9b189479" providerId="ADAL" clId="{5F87A5E2-C2A2-4F23-BC8C-28F7F5EA6CA7}" dt="2024-03-31T03:57:31.729" v="19417" actId="1076"/>
          <ac:picMkLst>
            <pc:docMk/>
            <pc:sldMk cId="2636110817" sldId="2147376833"/>
            <ac:picMk id="13" creationId="{3BF36413-BF3E-7853-7358-3632068E6723}"/>
          </ac:picMkLst>
        </pc:picChg>
        <pc:picChg chg="add mod">
          <ac:chgData name="Clark, Connie" userId="73351e60-ad32-4085-a232-1d9f9b189479" providerId="ADAL" clId="{5F87A5E2-C2A2-4F23-BC8C-28F7F5EA6CA7}" dt="2024-03-31T03:45:30.828" v="19402" actId="1076"/>
          <ac:picMkLst>
            <pc:docMk/>
            <pc:sldMk cId="2636110817" sldId="2147376833"/>
            <ac:picMk id="16" creationId="{EB2B82EA-0949-473A-C10D-C82FCB8755FC}"/>
          </ac:picMkLst>
        </pc:picChg>
        <pc:picChg chg="add del mod">
          <ac:chgData name="Clark, Connie" userId="73351e60-ad32-4085-a232-1d9f9b189479" providerId="ADAL" clId="{5F87A5E2-C2A2-4F23-BC8C-28F7F5EA6CA7}" dt="2024-03-31T03:58:04.369" v="19424" actId="478"/>
          <ac:picMkLst>
            <pc:docMk/>
            <pc:sldMk cId="2636110817" sldId="2147376833"/>
            <ac:picMk id="20" creationId="{C08E23A6-C323-622C-365E-8108BC1E95D7}"/>
          </ac:picMkLst>
        </pc:picChg>
        <pc:picChg chg="add mod">
          <ac:chgData name="Clark, Connie" userId="73351e60-ad32-4085-a232-1d9f9b189479" providerId="ADAL" clId="{5F87A5E2-C2A2-4F23-BC8C-28F7F5EA6CA7}" dt="2024-03-31T03:58:21.876" v="19427" actId="1076"/>
          <ac:picMkLst>
            <pc:docMk/>
            <pc:sldMk cId="2636110817" sldId="2147376833"/>
            <ac:picMk id="24" creationId="{68602D2A-6018-91B9-D348-B186354D8D90}"/>
          </ac:picMkLst>
        </pc:picChg>
        <pc:picChg chg="add del mod">
          <ac:chgData name="Clark, Connie" userId="73351e60-ad32-4085-a232-1d9f9b189479" providerId="ADAL" clId="{5F87A5E2-C2A2-4F23-BC8C-28F7F5EA6CA7}" dt="2024-03-31T04:00:08.819" v="19448"/>
          <ac:picMkLst>
            <pc:docMk/>
            <pc:sldMk cId="2636110817" sldId="2147376833"/>
            <ac:picMk id="29" creationId="{38AD9EF8-1778-759C-5687-09494352E5CC}"/>
          </ac:picMkLst>
        </pc:picChg>
        <pc:picChg chg="add mod">
          <ac:chgData name="Clark, Connie" userId="73351e60-ad32-4085-a232-1d9f9b189479" providerId="ADAL" clId="{5F87A5E2-C2A2-4F23-BC8C-28F7F5EA6CA7}" dt="2024-03-31T04:00:13.061" v="19450" actId="1076"/>
          <ac:picMkLst>
            <pc:docMk/>
            <pc:sldMk cId="2636110817" sldId="2147376833"/>
            <ac:picMk id="31" creationId="{00161799-A3D2-BF18-FC49-DCE34D8D864A}"/>
          </ac:picMkLst>
        </pc:picChg>
      </pc:sldChg>
      <pc:sldChg chg="add del ord">
        <pc:chgData name="Clark, Connie" userId="73351e60-ad32-4085-a232-1d9f9b189479" providerId="ADAL" clId="{5F87A5E2-C2A2-4F23-BC8C-28F7F5EA6CA7}" dt="2024-03-31T05:25:14.428" v="21506" actId="47"/>
        <pc:sldMkLst>
          <pc:docMk/>
          <pc:sldMk cId="533939781" sldId="2147376834"/>
        </pc:sldMkLst>
      </pc:sldChg>
      <pc:sldChg chg="addSp modSp add del">
        <pc:chgData name="Clark, Connie" userId="73351e60-ad32-4085-a232-1d9f9b189479" providerId="ADAL" clId="{5F87A5E2-C2A2-4F23-BC8C-28F7F5EA6CA7}" dt="2024-04-01T04:41:35.074" v="26354" actId="47"/>
        <pc:sldMkLst>
          <pc:docMk/>
          <pc:sldMk cId="553777521" sldId="2147376835"/>
        </pc:sldMkLst>
        <pc:spChg chg="add mod">
          <ac:chgData name="Clark, Connie" userId="73351e60-ad32-4085-a232-1d9f9b189479" providerId="ADAL" clId="{5F87A5E2-C2A2-4F23-BC8C-28F7F5EA6CA7}" dt="2024-03-31T05:26:02.791" v="21508"/>
          <ac:spMkLst>
            <pc:docMk/>
            <pc:sldMk cId="553777521" sldId="2147376835"/>
            <ac:spMk id="3" creationId="{B589CAD1-F566-7714-470C-C88397CA21B9}"/>
          </ac:spMkLst>
        </pc:spChg>
        <pc:spChg chg="add mod">
          <ac:chgData name="Clark, Connie" userId="73351e60-ad32-4085-a232-1d9f9b189479" providerId="ADAL" clId="{5F87A5E2-C2A2-4F23-BC8C-28F7F5EA6CA7}" dt="2024-03-31T05:26:02.791" v="21508"/>
          <ac:spMkLst>
            <pc:docMk/>
            <pc:sldMk cId="553777521" sldId="2147376835"/>
            <ac:spMk id="4" creationId="{A2F98F6C-ACAB-E762-B5D2-EE30931ECEAD}"/>
          </ac:spMkLst>
        </pc:spChg>
        <pc:spChg chg="add mod">
          <ac:chgData name="Clark, Connie" userId="73351e60-ad32-4085-a232-1d9f9b189479" providerId="ADAL" clId="{5F87A5E2-C2A2-4F23-BC8C-28F7F5EA6CA7}" dt="2024-03-31T05:26:23.279" v="21512"/>
          <ac:spMkLst>
            <pc:docMk/>
            <pc:sldMk cId="553777521" sldId="2147376835"/>
            <ac:spMk id="5" creationId="{210E1FA7-A834-B50C-8D87-F9432AD7D29B}"/>
          </ac:spMkLst>
        </pc:spChg>
        <pc:picChg chg="add mod">
          <ac:chgData name="Clark, Connie" userId="73351e60-ad32-4085-a232-1d9f9b189479" providerId="ADAL" clId="{5F87A5E2-C2A2-4F23-BC8C-28F7F5EA6CA7}" dt="2024-03-31T05:26:02.791" v="21508"/>
          <ac:picMkLst>
            <pc:docMk/>
            <pc:sldMk cId="553777521" sldId="2147376835"/>
            <ac:picMk id="2" creationId="{ED68FA79-A158-4652-4D98-F402FD0C6ACF}"/>
          </ac:picMkLst>
        </pc:picChg>
      </pc:sldChg>
      <pc:sldChg chg="addSp delSp modSp add del mod ord">
        <pc:chgData name="Clark, Connie" userId="73351e60-ad32-4085-a232-1d9f9b189479" providerId="ADAL" clId="{5F87A5E2-C2A2-4F23-BC8C-28F7F5EA6CA7}" dt="2024-05-24T00:09:13.161" v="31035" actId="2696"/>
        <pc:sldMkLst>
          <pc:docMk/>
          <pc:sldMk cId="2937783247" sldId="2147376836"/>
        </pc:sldMkLst>
        <pc:spChg chg="del">
          <ac:chgData name="Clark, Connie" userId="73351e60-ad32-4085-a232-1d9f9b189479" providerId="ADAL" clId="{5F87A5E2-C2A2-4F23-BC8C-28F7F5EA6CA7}" dt="2024-03-31T04:17:59.507" v="19957" actId="478"/>
          <ac:spMkLst>
            <pc:docMk/>
            <pc:sldMk cId="2937783247" sldId="2147376836"/>
            <ac:spMk id="2" creationId="{E943B176-0606-C5FD-BFF0-CC7A905B07B9}"/>
          </ac:spMkLst>
        </pc:spChg>
        <pc:spChg chg="del">
          <ac:chgData name="Clark, Connie" userId="73351e60-ad32-4085-a232-1d9f9b189479" providerId="ADAL" clId="{5F87A5E2-C2A2-4F23-BC8C-28F7F5EA6CA7}" dt="2024-03-31T04:17:59.507" v="19957" actId="478"/>
          <ac:spMkLst>
            <pc:docMk/>
            <pc:sldMk cId="2937783247" sldId="2147376836"/>
            <ac:spMk id="3" creationId="{9CDEC211-3F8B-4308-95AE-20B341BAAD07}"/>
          </ac:spMkLst>
        </pc:spChg>
        <pc:spChg chg="add mod">
          <ac:chgData name="Clark, Connie" userId="73351e60-ad32-4085-a232-1d9f9b189479" providerId="ADAL" clId="{5F87A5E2-C2A2-4F23-BC8C-28F7F5EA6CA7}" dt="2024-05-22T01:48:12.272" v="27759" actId="20577"/>
          <ac:spMkLst>
            <pc:docMk/>
            <pc:sldMk cId="2937783247" sldId="2147376836"/>
            <ac:spMk id="3" creationId="{E63FBD2F-9BCD-82E5-1EDB-B278EBD3DC7C}"/>
          </ac:spMkLst>
        </pc:spChg>
        <pc:spChg chg="add mod">
          <ac:chgData name="Clark, Connie" userId="73351e60-ad32-4085-a232-1d9f9b189479" providerId="ADAL" clId="{5F87A5E2-C2A2-4F23-BC8C-28F7F5EA6CA7}" dt="2024-03-31T04:18:55.521" v="19971" actId="1037"/>
          <ac:spMkLst>
            <pc:docMk/>
            <pc:sldMk cId="2937783247" sldId="2147376836"/>
            <ac:spMk id="4" creationId="{22A18CC0-6141-ABA9-196E-A5C58759FE9D}"/>
          </ac:spMkLst>
        </pc:spChg>
        <pc:spChg chg="add del mod">
          <ac:chgData name="Clark, Connie" userId="73351e60-ad32-4085-a232-1d9f9b189479" providerId="ADAL" clId="{5F87A5E2-C2A2-4F23-BC8C-28F7F5EA6CA7}" dt="2024-03-31T04:18:41.201" v="19963" actId="478"/>
          <ac:spMkLst>
            <pc:docMk/>
            <pc:sldMk cId="2937783247" sldId="2147376836"/>
            <ac:spMk id="5" creationId="{B82A289A-4815-0B69-8E8E-6A67717584FB}"/>
          </ac:spMkLst>
        </pc:spChg>
        <pc:spChg chg="del">
          <ac:chgData name="Clark, Connie" userId="73351e60-ad32-4085-a232-1d9f9b189479" providerId="ADAL" clId="{5F87A5E2-C2A2-4F23-BC8C-28F7F5EA6CA7}" dt="2024-03-31T04:17:59.507" v="19957" actId="478"/>
          <ac:spMkLst>
            <pc:docMk/>
            <pc:sldMk cId="2937783247" sldId="2147376836"/>
            <ac:spMk id="7" creationId="{D8493AEC-B0AD-6127-6C2E-9F99F679D24F}"/>
          </ac:spMkLst>
        </pc:spChg>
        <pc:spChg chg="del">
          <ac:chgData name="Clark, Connie" userId="73351e60-ad32-4085-a232-1d9f9b189479" providerId="ADAL" clId="{5F87A5E2-C2A2-4F23-BC8C-28F7F5EA6CA7}" dt="2024-03-31T04:17:59.507" v="19957" actId="478"/>
          <ac:spMkLst>
            <pc:docMk/>
            <pc:sldMk cId="2937783247" sldId="2147376836"/>
            <ac:spMk id="8" creationId="{40BF50D3-1EF4-57A9-56C4-A8900AA0F883}"/>
          </ac:spMkLst>
        </pc:spChg>
        <pc:spChg chg="add del mod">
          <ac:chgData name="Clark, Connie" userId="73351e60-ad32-4085-a232-1d9f9b189479" providerId="ADAL" clId="{5F87A5E2-C2A2-4F23-BC8C-28F7F5EA6CA7}" dt="2024-03-31T04:18:27.680" v="19960" actId="478"/>
          <ac:spMkLst>
            <pc:docMk/>
            <pc:sldMk cId="2937783247" sldId="2147376836"/>
            <ac:spMk id="11" creationId="{DF9D698B-D12E-794A-5F86-EAA2F610E61C}"/>
          </ac:spMkLst>
        </pc:spChg>
        <pc:spChg chg="add del mod">
          <ac:chgData name="Clark, Connie" userId="73351e60-ad32-4085-a232-1d9f9b189479" providerId="ADAL" clId="{5F87A5E2-C2A2-4F23-BC8C-28F7F5EA6CA7}" dt="2024-03-31T04:19:35.208" v="19975"/>
          <ac:spMkLst>
            <pc:docMk/>
            <pc:sldMk cId="2937783247" sldId="2147376836"/>
            <ac:spMk id="13" creationId="{E424641B-3B1C-0C27-1C1B-1755831660F9}"/>
          </ac:spMkLst>
        </pc:spChg>
        <pc:spChg chg="add del mod">
          <ac:chgData name="Clark, Connie" userId="73351e60-ad32-4085-a232-1d9f9b189479" providerId="ADAL" clId="{5F87A5E2-C2A2-4F23-BC8C-28F7F5EA6CA7}" dt="2024-03-31T04:26:14.291" v="20066" actId="478"/>
          <ac:spMkLst>
            <pc:docMk/>
            <pc:sldMk cId="2937783247" sldId="2147376836"/>
            <ac:spMk id="15" creationId="{3C37A651-A3D9-B6C9-8199-C0267B4F619D}"/>
          </ac:spMkLst>
        </pc:spChg>
        <pc:spChg chg="add del mod">
          <ac:chgData name="Clark, Connie" userId="73351e60-ad32-4085-a232-1d9f9b189479" providerId="ADAL" clId="{5F87A5E2-C2A2-4F23-BC8C-28F7F5EA6CA7}" dt="2024-03-31T04:26:08.431" v="20063" actId="478"/>
          <ac:spMkLst>
            <pc:docMk/>
            <pc:sldMk cId="2937783247" sldId="2147376836"/>
            <ac:spMk id="17" creationId="{045D7E1D-CE7A-F623-58DE-7CBA9216947E}"/>
          </ac:spMkLst>
        </pc:spChg>
        <pc:spChg chg="add del mod">
          <ac:chgData name="Clark, Connie" userId="73351e60-ad32-4085-a232-1d9f9b189479" providerId="ADAL" clId="{5F87A5E2-C2A2-4F23-BC8C-28F7F5EA6CA7}" dt="2024-03-31T04:26:08.431" v="20063" actId="478"/>
          <ac:spMkLst>
            <pc:docMk/>
            <pc:sldMk cId="2937783247" sldId="2147376836"/>
            <ac:spMk id="18" creationId="{F540161C-BF32-9093-5937-6583E834A7A4}"/>
          </ac:spMkLst>
        </pc:spChg>
        <pc:spChg chg="add del mod">
          <ac:chgData name="Clark, Connie" userId="73351e60-ad32-4085-a232-1d9f9b189479" providerId="ADAL" clId="{5F87A5E2-C2A2-4F23-BC8C-28F7F5EA6CA7}" dt="2024-03-31T04:26:08.431" v="20063" actId="478"/>
          <ac:spMkLst>
            <pc:docMk/>
            <pc:sldMk cId="2937783247" sldId="2147376836"/>
            <ac:spMk id="20" creationId="{2BFF35CD-38E1-827E-C9CC-BE0A3995446E}"/>
          </ac:spMkLst>
        </pc:spChg>
        <pc:spChg chg="add del mod">
          <ac:chgData name="Clark, Connie" userId="73351e60-ad32-4085-a232-1d9f9b189479" providerId="ADAL" clId="{5F87A5E2-C2A2-4F23-BC8C-28F7F5EA6CA7}" dt="2024-03-31T04:26:08.431" v="20063" actId="478"/>
          <ac:spMkLst>
            <pc:docMk/>
            <pc:sldMk cId="2937783247" sldId="2147376836"/>
            <ac:spMk id="21" creationId="{56E67119-815D-1DB6-5E5C-7ED90921E343}"/>
          </ac:spMkLst>
        </pc:spChg>
        <pc:spChg chg="add del mod">
          <ac:chgData name="Clark, Connie" userId="73351e60-ad32-4085-a232-1d9f9b189479" providerId="ADAL" clId="{5F87A5E2-C2A2-4F23-BC8C-28F7F5EA6CA7}" dt="2024-03-31T04:26:08.431" v="20063" actId="478"/>
          <ac:spMkLst>
            <pc:docMk/>
            <pc:sldMk cId="2937783247" sldId="2147376836"/>
            <ac:spMk id="22" creationId="{C116F1D4-4B01-C9C1-A0D4-1D3C07E42055}"/>
          </ac:spMkLst>
        </pc:spChg>
        <pc:spChg chg="add del mod">
          <ac:chgData name="Clark, Connie" userId="73351e60-ad32-4085-a232-1d9f9b189479" providerId="ADAL" clId="{5F87A5E2-C2A2-4F23-BC8C-28F7F5EA6CA7}" dt="2024-03-31T04:26:08.431" v="20063" actId="478"/>
          <ac:spMkLst>
            <pc:docMk/>
            <pc:sldMk cId="2937783247" sldId="2147376836"/>
            <ac:spMk id="23" creationId="{1AA34039-03C9-B8FD-A2D7-50F08E7BD8F3}"/>
          </ac:spMkLst>
        </pc:spChg>
        <pc:spChg chg="add del mod">
          <ac:chgData name="Clark, Connie" userId="73351e60-ad32-4085-a232-1d9f9b189479" providerId="ADAL" clId="{5F87A5E2-C2A2-4F23-BC8C-28F7F5EA6CA7}" dt="2024-03-31T04:26:10.311" v="20064" actId="478"/>
          <ac:spMkLst>
            <pc:docMk/>
            <pc:sldMk cId="2937783247" sldId="2147376836"/>
            <ac:spMk id="24" creationId="{7EF7CC1E-D32A-B86B-60AF-2BB1D7F42586}"/>
          </ac:spMkLst>
        </pc:spChg>
        <pc:spChg chg="add mod">
          <ac:chgData name="Clark, Connie" userId="73351e60-ad32-4085-a232-1d9f9b189479" providerId="ADAL" clId="{5F87A5E2-C2A2-4F23-BC8C-28F7F5EA6CA7}" dt="2024-03-31T04:29:57.103" v="20107" actId="1076"/>
          <ac:spMkLst>
            <pc:docMk/>
            <pc:sldMk cId="2937783247" sldId="2147376836"/>
            <ac:spMk id="25" creationId="{62B5F1CF-EC88-BE9C-4170-D3DF519D0AEA}"/>
          </ac:spMkLst>
        </pc:spChg>
        <pc:spChg chg="add mod">
          <ac:chgData name="Clark, Connie" userId="73351e60-ad32-4085-a232-1d9f9b189479" providerId="ADAL" clId="{5F87A5E2-C2A2-4F23-BC8C-28F7F5EA6CA7}" dt="2024-03-31T04:38:45.640" v="20226" actId="20577"/>
          <ac:spMkLst>
            <pc:docMk/>
            <pc:sldMk cId="2937783247" sldId="2147376836"/>
            <ac:spMk id="27" creationId="{068901DC-D7B3-16C0-086D-1DE3FBF5E470}"/>
          </ac:spMkLst>
        </pc:spChg>
        <pc:spChg chg="add mod">
          <ac:chgData name="Clark, Connie" userId="73351e60-ad32-4085-a232-1d9f9b189479" providerId="ADAL" clId="{5F87A5E2-C2A2-4F23-BC8C-28F7F5EA6CA7}" dt="2024-03-31T04:37:38.990" v="20216" actId="1076"/>
          <ac:spMkLst>
            <pc:docMk/>
            <pc:sldMk cId="2937783247" sldId="2147376836"/>
            <ac:spMk id="29" creationId="{3D74617B-7644-E60E-4355-DFCC8B099C23}"/>
          </ac:spMkLst>
        </pc:spChg>
        <pc:spChg chg="add del mod">
          <ac:chgData name="Clark, Connie" userId="73351e60-ad32-4085-a232-1d9f9b189479" providerId="ADAL" clId="{5F87A5E2-C2A2-4F23-BC8C-28F7F5EA6CA7}" dt="2024-03-31T04:38:14.796" v="20222" actId="478"/>
          <ac:spMkLst>
            <pc:docMk/>
            <pc:sldMk cId="2937783247" sldId="2147376836"/>
            <ac:spMk id="30" creationId="{0AA8BCD6-0CAA-569D-8B2F-897E32E45877}"/>
          </ac:spMkLst>
        </pc:spChg>
        <pc:spChg chg="mod">
          <ac:chgData name="Clark, Connie" userId="73351e60-ad32-4085-a232-1d9f9b189479" providerId="ADAL" clId="{5F87A5E2-C2A2-4F23-BC8C-28F7F5EA6CA7}" dt="2024-03-31T04:28:39.203" v="20077" actId="2"/>
          <ac:spMkLst>
            <pc:docMk/>
            <pc:sldMk cId="2937783247" sldId="2147376836"/>
            <ac:spMk id="69" creationId="{0D07FC9A-B1CC-CA6C-EE39-221297A3EF03}"/>
          </ac:spMkLst>
        </pc:spChg>
        <pc:graphicFrameChg chg="add del mod">
          <ac:chgData name="Clark, Connie" userId="73351e60-ad32-4085-a232-1d9f9b189479" providerId="ADAL" clId="{5F87A5E2-C2A2-4F23-BC8C-28F7F5EA6CA7}" dt="2024-03-31T04:19:35.208" v="19975"/>
          <ac:graphicFrameMkLst>
            <pc:docMk/>
            <pc:sldMk cId="2937783247" sldId="2147376836"/>
            <ac:graphicFrameMk id="12" creationId="{477564E9-216D-4F11-BBE9-38E0035E7DF5}"/>
          </ac:graphicFrameMkLst>
        </pc:graphicFrameChg>
        <pc:graphicFrameChg chg="add mod modGraphic">
          <ac:chgData name="Clark, Connie" userId="73351e60-ad32-4085-a232-1d9f9b189479" providerId="ADAL" clId="{5F87A5E2-C2A2-4F23-BC8C-28F7F5EA6CA7}" dt="2024-03-31T04:53:32.097" v="21049"/>
          <ac:graphicFrameMkLst>
            <pc:docMk/>
            <pc:sldMk cId="2937783247" sldId="2147376836"/>
            <ac:graphicFrameMk id="14" creationId="{984AA7F3-33F8-BBC2-9C32-E0220F1044DC}"/>
          </ac:graphicFrameMkLst>
        </pc:graphicFrameChg>
        <pc:picChg chg="del">
          <ac:chgData name="Clark, Connie" userId="73351e60-ad32-4085-a232-1d9f9b189479" providerId="ADAL" clId="{5F87A5E2-C2A2-4F23-BC8C-28F7F5EA6CA7}" dt="2024-03-31T04:17:59.507" v="19957" actId="478"/>
          <ac:picMkLst>
            <pc:docMk/>
            <pc:sldMk cId="2937783247" sldId="2147376836"/>
            <ac:picMk id="6" creationId="{0F678275-8D2E-C876-659D-2F8D5FB8A577}"/>
          </ac:picMkLst>
        </pc:picChg>
        <pc:picChg chg="del">
          <ac:chgData name="Clark, Connie" userId="73351e60-ad32-4085-a232-1d9f9b189479" providerId="ADAL" clId="{5F87A5E2-C2A2-4F23-BC8C-28F7F5EA6CA7}" dt="2024-03-31T04:17:59.507" v="19957" actId="478"/>
          <ac:picMkLst>
            <pc:docMk/>
            <pc:sldMk cId="2937783247" sldId="2147376836"/>
            <ac:picMk id="9" creationId="{A4E17F6A-FBA2-652C-C2CD-484E736B408D}"/>
          </ac:picMkLst>
        </pc:picChg>
        <pc:picChg chg="add del mod">
          <ac:chgData name="Clark, Connie" userId="73351e60-ad32-4085-a232-1d9f9b189479" providerId="ADAL" clId="{5F87A5E2-C2A2-4F23-BC8C-28F7F5EA6CA7}" dt="2024-03-31T04:18:37.439" v="19961" actId="478"/>
          <ac:picMkLst>
            <pc:docMk/>
            <pc:sldMk cId="2937783247" sldId="2147376836"/>
            <ac:picMk id="10" creationId="{E8DEC07D-7B80-5DC9-4C6F-16EF6BB21FCB}"/>
          </ac:picMkLst>
        </pc:picChg>
        <pc:picChg chg="add del mod">
          <ac:chgData name="Clark, Connie" userId="73351e60-ad32-4085-a232-1d9f9b189479" providerId="ADAL" clId="{5F87A5E2-C2A2-4F23-BC8C-28F7F5EA6CA7}" dt="2024-03-31T04:26:08.431" v="20063" actId="478"/>
          <ac:picMkLst>
            <pc:docMk/>
            <pc:sldMk cId="2937783247" sldId="2147376836"/>
            <ac:picMk id="16" creationId="{90866322-5080-B591-BC88-3604CC60A4FC}"/>
          </ac:picMkLst>
        </pc:picChg>
        <pc:picChg chg="add mod">
          <ac:chgData name="Clark, Connie" userId="73351e60-ad32-4085-a232-1d9f9b189479" providerId="ADAL" clId="{5F87A5E2-C2A2-4F23-BC8C-28F7F5EA6CA7}" dt="2024-03-31T04:29:57.103" v="20107" actId="1076"/>
          <ac:picMkLst>
            <pc:docMk/>
            <pc:sldMk cId="2937783247" sldId="2147376836"/>
            <ac:picMk id="26" creationId="{460FCFB0-2C43-8EBF-68E1-F614771B3877}"/>
          </ac:picMkLst>
        </pc:picChg>
      </pc:sldChg>
      <pc:sldChg chg="addSp delSp modSp add del mod">
        <pc:chgData name="Clark, Connie" userId="73351e60-ad32-4085-a232-1d9f9b189479" providerId="ADAL" clId="{5F87A5E2-C2A2-4F23-BC8C-28F7F5EA6CA7}" dt="2024-05-24T00:09:13.161" v="31035" actId="2696"/>
        <pc:sldMkLst>
          <pc:docMk/>
          <pc:sldMk cId="1448012043" sldId="2147376837"/>
        </pc:sldMkLst>
        <pc:spChg chg="add del mod">
          <ac:chgData name="Clark, Connie" userId="73351e60-ad32-4085-a232-1d9f9b189479" providerId="ADAL" clId="{5F87A5E2-C2A2-4F23-BC8C-28F7F5EA6CA7}" dt="2024-03-31T04:46:52.295" v="20683" actId="478"/>
          <ac:spMkLst>
            <pc:docMk/>
            <pc:sldMk cId="1448012043" sldId="2147376837"/>
            <ac:spMk id="2" creationId="{431FEC50-2F16-88BC-936C-8CE36C7B6328}"/>
          </ac:spMkLst>
        </pc:spChg>
        <pc:spChg chg="add del mod">
          <ac:chgData name="Clark, Connie" userId="73351e60-ad32-4085-a232-1d9f9b189479" providerId="ADAL" clId="{5F87A5E2-C2A2-4F23-BC8C-28F7F5EA6CA7}" dt="2024-03-31T04:46:51.416" v="20682" actId="478"/>
          <ac:spMkLst>
            <pc:docMk/>
            <pc:sldMk cId="1448012043" sldId="2147376837"/>
            <ac:spMk id="3" creationId="{FCD0AC4A-BF0A-E283-E4B3-1720E4F4D887}"/>
          </ac:spMkLst>
        </pc:spChg>
        <pc:spChg chg="del mod">
          <ac:chgData name="Clark, Connie" userId="73351e60-ad32-4085-a232-1d9f9b189479" providerId="ADAL" clId="{5F87A5E2-C2A2-4F23-BC8C-28F7F5EA6CA7}" dt="2024-03-31T04:39:38.956" v="20291" actId="478"/>
          <ac:spMkLst>
            <pc:docMk/>
            <pc:sldMk cId="1448012043" sldId="2147376837"/>
            <ac:spMk id="4" creationId="{22A18CC0-6141-ABA9-196E-A5C58759FE9D}"/>
          </ac:spMkLst>
        </pc:spChg>
        <pc:spChg chg="add del mod">
          <ac:chgData name="Clark, Connie" userId="73351e60-ad32-4085-a232-1d9f9b189479" providerId="ADAL" clId="{5F87A5E2-C2A2-4F23-BC8C-28F7F5EA6CA7}" dt="2024-03-31T04:53:00.328" v="21044" actId="478"/>
          <ac:spMkLst>
            <pc:docMk/>
            <pc:sldMk cId="1448012043" sldId="2147376837"/>
            <ac:spMk id="5" creationId="{9159BAA4-1924-DA3C-18AF-18235574CFAF}"/>
          </ac:spMkLst>
        </pc:spChg>
        <pc:spChg chg="add del mod">
          <ac:chgData name="Clark, Connie" userId="73351e60-ad32-4085-a232-1d9f9b189479" providerId="ADAL" clId="{5F87A5E2-C2A2-4F23-BC8C-28F7F5EA6CA7}" dt="2024-03-31T04:53:00.328" v="21044" actId="478"/>
          <ac:spMkLst>
            <pc:docMk/>
            <pc:sldMk cId="1448012043" sldId="2147376837"/>
            <ac:spMk id="6" creationId="{F4B47EA5-0948-C72B-2531-6235EE4880F6}"/>
          </ac:spMkLst>
        </pc:spChg>
        <pc:spChg chg="add del mod">
          <ac:chgData name="Clark, Connie" userId="73351e60-ad32-4085-a232-1d9f9b189479" providerId="ADAL" clId="{5F87A5E2-C2A2-4F23-BC8C-28F7F5EA6CA7}" dt="2024-03-31T05:29:01.157" v="21523" actId="478"/>
          <ac:spMkLst>
            <pc:docMk/>
            <pc:sldMk cId="1448012043" sldId="2147376837"/>
            <ac:spMk id="7" creationId="{FDC86436-4DD9-709A-29E1-BFC80AA2059A}"/>
          </ac:spMkLst>
        </pc:spChg>
        <pc:spChg chg="add mod">
          <ac:chgData name="Clark, Connie" userId="73351e60-ad32-4085-a232-1d9f9b189479" providerId="ADAL" clId="{5F87A5E2-C2A2-4F23-BC8C-28F7F5EA6CA7}" dt="2024-03-31T05:29:36.593" v="21528" actId="1076"/>
          <ac:spMkLst>
            <pc:docMk/>
            <pc:sldMk cId="1448012043" sldId="2147376837"/>
            <ac:spMk id="8" creationId="{70A474C7-AB02-05EB-AB91-858B13C1DBF7}"/>
          </ac:spMkLst>
        </pc:spChg>
        <pc:spChg chg="add del mod">
          <ac:chgData name="Clark, Connie" userId="73351e60-ad32-4085-a232-1d9f9b189479" providerId="ADAL" clId="{5F87A5E2-C2A2-4F23-BC8C-28F7F5EA6CA7}" dt="2024-03-31T05:07:47.616" v="21374" actId="478"/>
          <ac:spMkLst>
            <pc:docMk/>
            <pc:sldMk cId="1448012043" sldId="2147376837"/>
            <ac:spMk id="12" creationId="{1893E8FC-E821-C95C-5537-D7C2B74296D3}"/>
          </ac:spMkLst>
        </pc:spChg>
        <pc:spChg chg="add mod">
          <ac:chgData name="Clark, Connie" userId="73351e60-ad32-4085-a232-1d9f9b189479" providerId="ADAL" clId="{5F87A5E2-C2A2-4F23-BC8C-28F7F5EA6CA7}" dt="2024-03-31T05:29:20.004" v="21524" actId="1076"/>
          <ac:spMkLst>
            <pc:docMk/>
            <pc:sldMk cId="1448012043" sldId="2147376837"/>
            <ac:spMk id="13" creationId="{95CAD66A-EE22-7E0E-0B94-69051760686E}"/>
          </ac:spMkLst>
        </pc:spChg>
        <pc:spChg chg="add mod">
          <ac:chgData name="Clark, Connie" userId="73351e60-ad32-4085-a232-1d9f9b189479" providerId="ADAL" clId="{5F87A5E2-C2A2-4F23-BC8C-28F7F5EA6CA7}" dt="2024-03-31T05:11:43.708" v="21432" actId="1076"/>
          <ac:spMkLst>
            <pc:docMk/>
            <pc:sldMk cId="1448012043" sldId="2147376837"/>
            <ac:spMk id="15" creationId="{3AD6F7A2-8F5D-F95B-9D71-AF83A672C5A4}"/>
          </ac:spMkLst>
        </pc:spChg>
        <pc:spChg chg="add mod">
          <ac:chgData name="Clark, Connie" userId="73351e60-ad32-4085-a232-1d9f9b189479" providerId="ADAL" clId="{5F87A5E2-C2A2-4F23-BC8C-28F7F5EA6CA7}" dt="2024-03-31T05:29:25.577" v="21525" actId="1076"/>
          <ac:spMkLst>
            <pc:docMk/>
            <pc:sldMk cId="1448012043" sldId="2147376837"/>
            <ac:spMk id="16" creationId="{808E01B3-B37F-F59E-4C3D-E2C6D38BEF72}"/>
          </ac:spMkLst>
        </pc:spChg>
        <pc:spChg chg="add mod">
          <ac:chgData name="Clark, Connie" userId="73351e60-ad32-4085-a232-1d9f9b189479" providerId="ADAL" clId="{5F87A5E2-C2A2-4F23-BC8C-28F7F5EA6CA7}" dt="2024-03-31T05:29:58.087" v="21533" actId="1076"/>
          <ac:spMkLst>
            <pc:docMk/>
            <pc:sldMk cId="1448012043" sldId="2147376837"/>
            <ac:spMk id="17" creationId="{2E4C91B9-A72E-CAB0-36B4-2BD79EB2EC2C}"/>
          </ac:spMkLst>
        </pc:spChg>
        <pc:spChg chg="add mod">
          <ac:chgData name="Clark, Connie" userId="73351e60-ad32-4085-a232-1d9f9b189479" providerId="ADAL" clId="{5F87A5E2-C2A2-4F23-BC8C-28F7F5EA6CA7}" dt="2024-03-31T05:29:51.164" v="21532" actId="1076"/>
          <ac:spMkLst>
            <pc:docMk/>
            <pc:sldMk cId="1448012043" sldId="2147376837"/>
            <ac:spMk id="18" creationId="{B4ACF6A5-AC75-92D8-326F-0710D3CB5CC1}"/>
          </ac:spMkLst>
        </pc:spChg>
        <pc:spChg chg="del">
          <ac:chgData name="Clark, Connie" userId="73351e60-ad32-4085-a232-1d9f9b189479" providerId="ADAL" clId="{5F87A5E2-C2A2-4F23-BC8C-28F7F5EA6CA7}" dt="2024-03-31T04:40:05.850" v="20293" actId="478"/>
          <ac:spMkLst>
            <pc:docMk/>
            <pc:sldMk cId="1448012043" sldId="2147376837"/>
            <ac:spMk id="25" creationId="{62B5F1CF-EC88-BE9C-4170-D3DF519D0AEA}"/>
          </ac:spMkLst>
        </pc:spChg>
        <pc:spChg chg="del">
          <ac:chgData name="Clark, Connie" userId="73351e60-ad32-4085-a232-1d9f9b189479" providerId="ADAL" clId="{5F87A5E2-C2A2-4F23-BC8C-28F7F5EA6CA7}" dt="2024-03-31T04:39:51.542" v="20292" actId="478"/>
          <ac:spMkLst>
            <pc:docMk/>
            <pc:sldMk cId="1448012043" sldId="2147376837"/>
            <ac:spMk id="27" creationId="{068901DC-D7B3-16C0-086D-1DE3FBF5E470}"/>
          </ac:spMkLst>
        </pc:spChg>
        <pc:spChg chg="mod">
          <ac:chgData name="Clark, Connie" userId="73351e60-ad32-4085-a232-1d9f9b189479" providerId="ADAL" clId="{5F87A5E2-C2A2-4F23-BC8C-28F7F5EA6CA7}" dt="2024-03-31T04:56:05.975" v="21075" actId="20577"/>
          <ac:spMkLst>
            <pc:docMk/>
            <pc:sldMk cId="1448012043" sldId="2147376837"/>
            <ac:spMk id="28" creationId="{1F8DDD3D-F18B-23CB-BD17-0E093682ED6F}"/>
          </ac:spMkLst>
        </pc:spChg>
        <pc:spChg chg="del">
          <ac:chgData name="Clark, Connie" userId="73351e60-ad32-4085-a232-1d9f9b189479" providerId="ADAL" clId="{5F87A5E2-C2A2-4F23-BC8C-28F7F5EA6CA7}" dt="2024-03-31T04:39:51.542" v="20292" actId="478"/>
          <ac:spMkLst>
            <pc:docMk/>
            <pc:sldMk cId="1448012043" sldId="2147376837"/>
            <ac:spMk id="29" creationId="{3D74617B-7644-E60E-4355-DFCC8B099C23}"/>
          </ac:spMkLst>
        </pc:spChg>
        <pc:graphicFrameChg chg="del">
          <ac:chgData name="Clark, Connie" userId="73351e60-ad32-4085-a232-1d9f9b189479" providerId="ADAL" clId="{5F87A5E2-C2A2-4F23-BC8C-28F7F5EA6CA7}" dt="2024-03-31T04:39:51.542" v="20292" actId="478"/>
          <ac:graphicFrameMkLst>
            <pc:docMk/>
            <pc:sldMk cId="1448012043" sldId="2147376837"/>
            <ac:graphicFrameMk id="14" creationId="{984AA7F3-33F8-BBC2-9C32-E0220F1044DC}"/>
          </ac:graphicFrameMkLst>
        </pc:graphicFrameChg>
        <pc:picChg chg="add del mod">
          <ac:chgData name="Clark, Connie" userId="73351e60-ad32-4085-a232-1d9f9b189479" providerId="ADAL" clId="{5F87A5E2-C2A2-4F23-BC8C-28F7F5EA6CA7}" dt="2024-03-31T04:40:57.826" v="20302" actId="478"/>
          <ac:picMkLst>
            <pc:docMk/>
            <pc:sldMk cId="1448012043" sldId="2147376837"/>
            <ac:picMk id="9" creationId="{F561C411-2969-69C7-EC3E-381A21BF1120}"/>
          </ac:picMkLst>
        </pc:picChg>
        <pc:picChg chg="add del mod">
          <ac:chgData name="Clark, Connie" userId="73351e60-ad32-4085-a232-1d9f9b189479" providerId="ADAL" clId="{5F87A5E2-C2A2-4F23-BC8C-28F7F5EA6CA7}" dt="2024-03-31T04:40:58.711" v="20303" actId="478"/>
          <ac:picMkLst>
            <pc:docMk/>
            <pc:sldMk cId="1448012043" sldId="2147376837"/>
            <ac:picMk id="10" creationId="{1A7014A3-B69F-0C3F-D06C-EC264E38A6DC}"/>
          </ac:picMkLst>
        </pc:picChg>
        <pc:picChg chg="add del mod">
          <ac:chgData name="Clark, Connie" userId="73351e60-ad32-4085-a232-1d9f9b189479" providerId="ADAL" clId="{5F87A5E2-C2A2-4F23-BC8C-28F7F5EA6CA7}" dt="2024-03-31T04:40:59.684" v="20304" actId="478"/>
          <ac:picMkLst>
            <pc:docMk/>
            <pc:sldMk cId="1448012043" sldId="2147376837"/>
            <ac:picMk id="11" creationId="{48644078-6216-E8F2-FA05-8850F9BAB8DC}"/>
          </ac:picMkLst>
        </pc:picChg>
        <pc:picChg chg="del">
          <ac:chgData name="Clark, Connie" userId="73351e60-ad32-4085-a232-1d9f9b189479" providerId="ADAL" clId="{5F87A5E2-C2A2-4F23-BC8C-28F7F5EA6CA7}" dt="2024-03-31T04:39:51.542" v="20292" actId="478"/>
          <ac:picMkLst>
            <pc:docMk/>
            <pc:sldMk cId="1448012043" sldId="2147376837"/>
            <ac:picMk id="26" creationId="{460FCFB0-2C43-8EBF-68E1-F614771B3877}"/>
          </ac:picMkLst>
        </pc:picChg>
      </pc:sldChg>
      <pc:sldChg chg="delSp add del mod">
        <pc:chgData name="Clark, Connie" userId="73351e60-ad32-4085-a232-1d9f9b189479" providerId="ADAL" clId="{5F87A5E2-C2A2-4F23-BC8C-28F7F5EA6CA7}" dt="2024-05-24T00:02:43.346" v="31034" actId="2696"/>
        <pc:sldMkLst>
          <pc:docMk/>
          <pc:sldMk cId="3830842245" sldId="2147376838"/>
        </pc:sldMkLst>
        <pc:spChg chg="del">
          <ac:chgData name="Clark, Connie" userId="73351e60-ad32-4085-a232-1d9f9b189479" providerId="ADAL" clId="{5F87A5E2-C2A2-4F23-BC8C-28F7F5EA6CA7}" dt="2024-03-31T05:26:15.690" v="21511" actId="478"/>
          <ac:spMkLst>
            <pc:docMk/>
            <pc:sldMk cId="3830842245" sldId="2147376838"/>
            <ac:spMk id="3" creationId="{B589CAD1-F566-7714-470C-C88397CA21B9}"/>
          </ac:spMkLst>
        </pc:spChg>
        <pc:spChg chg="del">
          <ac:chgData name="Clark, Connie" userId="73351e60-ad32-4085-a232-1d9f9b189479" providerId="ADAL" clId="{5F87A5E2-C2A2-4F23-BC8C-28F7F5EA6CA7}" dt="2024-03-31T05:26:15.690" v="21511" actId="478"/>
          <ac:spMkLst>
            <pc:docMk/>
            <pc:sldMk cId="3830842245" sldId="2147376838"/>
            <ac:spMk id="4" creationId="{A2F98F6C-ACAB-E762-B5D2-EE30931ECEAD}"/>
          </ac:spMkLst>
        </pc:spChg>
        <pc:picChg chg="del">
          <ac:chgData name="Clark, Connie" userId="73351e60-ad32-4085-a232-1d9f9b189479" providerId="ADAL" clId="{5F87A5E2-C2A2-4F23-BC8C-28F7F5EA6CA7}" dt="2024-03-31T05:26:13.295" v="21510" actId="478"/>
          <ac:picMkLst>
            <pc:docMk/>
            <pc:sldMk cId="3830842245" sldId="2147376838"/>
            <ac:picMk id="2" creationId="{ED68FA79-A158-4652-4D98-F402FD0C6ACF}"/>
          </ac:picMkLst>
        </pc:picChg>
      </pc:sldChg>
      <pc:sldChg chg="addSp delSp modSp add mod ord">
        <pc:chgData name="Clark, Connie" userId="73351e60-ad32-4085-a232-1d9f9b189479" providerId="ADAL" clId="{5F87A5E2-C2A2-4F23-BC8C-28F7F5EA6CA7}" dt="2024-04-01T02:46:08.625" v="25443" actId="478"/>
        <pc:sldMkLst>
          <pc:docMk/>
          <pc:sldMk cId="130815812" sldId="2147376839"/>
        </pc:sldMkLst>
        <pc:spChg chg="add mod">
          <ac:chgData name="Clark, Connie" userId="73351e60-ad32-4085-a232-1d9f9b189479" providerId="ADAL" clId="{5F87A5E2-C2A2-4F23-BC8C-28F7F5EA6CA7}" dt="2024-04-01T01:37:31.147" v="24756" actId="20577"/>
          <ac:spMkLst>
            <pc:docMk/>
            <pc:sldMk cId="130815812" sldId="2147376839"/>
            <ac:spMk id="3" creationId="{2F2D8F90-5626-85F5-D44D-9B050DAA83BF}"/>
          </ac:spMkLst>
        </pc:spChg>
        <pc:spChg chg="del">
          <ac:chgData name="Clark, Connie" userId="73351e60-ad32-4085-a232-1d9f9b189479" providerId="ADAL" clId="{5F87A5E2-C2A2-4F23-BC8C-28F7F5EA6CA7}" dt="2024-03-31T13:11:47.309" v="21535" actId="478"/>
          <ac:spMkLst>
            <pc:docMk/>
            <pc:sldMk cId="130815812" sldId="2147376839"/>
            <ac:spMk id="7" creationId="{C89E190C-E4C5-EFF5-79F3-D6C243BDC761}"/>
          </ac:spMkLst>
        </pc:spChg>
        <pc:spChg chg="del">
          <ac:chgData name="Clark, Connie" userId="73351e60-ad32-4085-a232-1d9f9b189479" providerId="ADAL" clId="{5F87A5E2-C2A2-4F23-BC8C-28F7F5EA6CA7}" dt="2024-03-31T13:11:47.309" v="21535" actId="478"/>
          <ac:spMkLst>
            <pc:docMk/>
            <pc:sldMk cId="130815812" sldId="2147376839"/>
            <ac:spMk id="9" creationId="{59C93A0B-FB2C-ECDD-2A13-F15C8184C15C}"/>
          </ac:spMkLst>
        </pc:spChg>
        <pc:spChg chg="add mod">
          <ac:chgData name="Clark, Connie" userId="73351e60-ad32-4085-a232-1d9f9b189479" providerId="ADAL" clId="{5F87A5E2-C2A2-4F23-BC8C-28F7F5EA6CA7}" dt="2024-04-01T02:32:25.874" v="25303" actId="1076"/>
          <ac:spMkLst>
            <pc:docMk/>
            <pc:sldMk cId="130815812" sldId="2147376839"/>
            <ac:spMk id="12" creationId="{E973EFAA-DA16-D1D2-D0EC-6C2D03FFF4AF}"/>
          </ac:spMkLst>
        </pc:spChg>
        <pc:spChg chg="add del mod">
          <ac:chgData name="Clark, Connie" userId="73351e60-ad32-4085-a232-1d9f9b189479" providerId="ADAL" clId="{5F87A5E2-C2A2-4F23-BC8C-28F7F5EA6CA7}" dt="2024-04-01T02:46:08.625" v="25443" actId="478"/>
          <ac:spMkLst>
            <pc:docMk/>
            <pc:sldMk cId="130815812" sldId="2147376839"/>
            <ac:spMk id="17" creationId="{104490DB-C221-B262-FBC2-E5122C270BE9}"/>
          </ac:spMkLst>
        </pc:spChg>
        <pc:spChg chg="del">
          <ac:chgData name="Clark, Connie" userId="73351e60-ad32-4085-a232-1d9f9b189479" providerId="ADAL" clId="{5F87A5E2-C2A2-4F23-BC8C-28F7F5EA6CA7}" dt="2024-03-31T13:11:50.537" v="21536" actId="478"/>
          <ac:spMkLst>
            <pc:docMk/>
            <pc:sldMk cId="130815812" sldId="2147376839"/>
            <ac:spMk id="18" creationId="{62B3A4F7-271C-86FE-7D13-E2CB8D4D125D}"/>
          </ac:spMkLst>
        </pc:spChg>
        <pc:spChg chg="del">
          <ac:chgData name="Clark, Connie" userId="73351e60-ad32-4085-a232-1d9f9b189479" providerId="ADAL" clId="{5F87A5E2-C2A2-4F23-BC8C-28F7F5EA6CA7}" dt="2024-03-31T13:11:47.309" v="21535" actId="478"/>
          <ac:spMkLst>
            <pc:docMk/>
            <pc:sldMk cId="130815812" sldId="2147376839"/>
            <ac:spMk id="21" creationId="{F6E5B563-A295-2EEB-A4AC-6097985ED0C8}"/>
          </ac:spMkLst>
        </pc:spChg>
        <pc:spChg chg="mod">
          <ac:chgData name="Clark, Connie" userId="73351e60-ad32-4085-a232-1d9f9b189479" providerId="ADAL" clId="{5F87A5E2-C2A2-4F23-BC8C-28F7F5EA6CA7}" dt="2024-04-01T02:29:56.382" v="25300" actId="20577"/>
          <ac:spMkLst>
            <pc:docMk/>
            <pc:sldMk cId="130815812" sldId="2147376839"/>
            <ac:spMk id="28" creationId="{1F8DDD3D-F18B-23CB-BD17-0E093682ED6F}"/>
          </ac:spMkLst>
        </pc:spChg>
        <pc:spChg chg="del mod">
          <ac:chgData name="Clark, Connie" userId="73351e60-ad32-4085-a232-1d9f9b189479" providerId="ADAL" clId="{5F87A5E2-C2A2-4F23-BC8C-28F7F5EA6CA7}" dt="2024-03-31T13:13:53.315" v="21555" actId="478"/>
          <ac:spMkLst>
            <pc:docMk/>
            <pc:sldMk cId="130815812" sldId="2147376839"/>
            <ac:spMk id="29" creationId="{357B1D45-B3B3-13FB-017B-9615F49F55C2}"/>
          </ac:spMkLst>
        </pc:spChg>
        <pc:picChg chg="add mod">
          <ac:chgData name="Clark, Connie" userId="73351e60-ad32-4085-a232-1d9f9b189479" providerId="ADAL" clId="{5F87A5E2-C2A2-4F23-BC8C-28F7F5EA6CA7}" dt="2024-03-31T13:13:43.855" v="21552" actId="1076"/>
          <ac:picMkLst>
            <pc:docMk/>
            <pc:sldMk cId="130815812" sldId="2147376839"/>
            <ac:picMk id="2" creationId="{A0F68D29-0DF1-40A1-BB50-6CFDA3150646}"/>
          </ac:picMkLst>
        </pc:picChg>
        <pc:picChg chg="add mod">
          <ac:chgData name="Clark, Connie" userId="73351e60-ad32-4085-a232-1d9f9b189479" providerId="ADAL" clId="{5F87A5E2-C2A2-4F23-BC8C-28F7F5EA6CA7}" dt="2024-04-01T01:40:09.082" v="24763" actId="1076"/>
          <ac:picMkLst>
            <pc:docMk/>
            <pc:sldMk cId="130815812" sldId="2147376839"/>
            <ac:picMk id="5" creationId="{C3BC075A-C806-B9D2-E3A3-759F103D037F}"/>
          </ac:picMkLst>
        </pc:picChg>
        <pc:picChg chg="add del mod">
          <ac:chgData name="Clark, Connie" userId="73351e60-ad32-4085-a232-1d9f9b189479" providerId="ADAL" clId="{5F87A5E2-C2A2-4F23-BC8C-28F7F5EA6CA7}" dt="2024-04-01T01:39:34.751" v="24760" actId="478"/>
          <ac:picMkLst>
            <pc:docMk/>
            <pc:sldMk cId="130815812" sldId="2147376839"/>
            <ac:picMk id="8" creationId="{7DDA7F6E-28A6-0944-B7A3-E0F6CED3DBBA}"/>
          </ac:picMkLst>
        </pc:picChg>
        <pc:picChg chg="del">
          <ac:chgData name="Clark, Connie" userId="73351e60-ad32-4085-a232-1d9f9b189479" providerId="ADAL" clId="{5F87A5E2-C2A2-4F23-BC8C-28F7F5EA6CA7}" dt="2024-03-31T13:11:47.309" v="21535" actId="478"/>
          <ac:picMkLst>
            <pc:docMk/>
            <pc:sldMk cId="130815812" sldId="2147376839"/>
            <ac:picMk id="14" creationId="{2BA84D83-1968-CC7C-0128-6E0023B848F6}"/>
          </ac:picMkLst>
        </pc:picChg>
        <pc:picChg chg="add mod">
          <ac:chgData name="Clark, Connie" userId="73351e60-ad32-4085-a232-1d9f9b189479" providerId="ADAL" clId="{5F87A5E2-C2A2-4F23-BC8C-28F7F5EA6CA7}" dt="2024-04-01T02:33:01.872" v="25305" actId="1076"/>
          <ac:picMkLst>
            <pc:docMk/>
            <pc:sldMk cId="130815812" sldId="2147376839"/>
            <ac:picMk id="15" creationId="{97DADCB1-8AF7-4BF4-9667-238BF2B037AC}"/>
          </ac:picMkLst>
        </pc:picChg>
        <pc:picChg chg="del">
          <ac:chgData name="Clark, Connie" userId="73351e60-ad32-4085-a232-1d9f9b189479" providerId="ADAL" clId="{5F87A5E2-C2A2-4F23-BC8C-28F7F5EA6CA7}" dt="2024-03-31T13:11:47.309" v="21535" actId="478"/>
          <ac:picMkLst>
            <pc:docMk/>
            <pc:sldMk cId="130815812" sldId="2147376839"/>
            <ac:picMk id="68" creationId="{C8ACE57C-8BCC-833E-5CD1-8361A974927B}"/>
          </ac:picMkLst>
        </pc:picChg>
        <pc:picChg chg="del">
          <ac:chgData name="Clark, Connie" userId="73351e60-ad32-4085-a232-1d9f9b189479" providerId="ADAL" clId="{5F87A5E2-C2A2-4F23-BC8C-28F7F5EA6CA7}" dt="2024-03-31T13:13:39.014" v="21551" actId="478"/>
          <ac:picMkLst>
            <pc:docMk/>
            <pc:sldMk cId="130815812" sldId="2147376839"/>
            <ac:picMk id="76" creationId="{67F5F8A2-CC7F-182C-9DF1-473746304A05}"/>
          </ac:picMkLst>
        </pc:picChg>
        <pc:cxnChg chg="del">
          <ac:chgData name="Clark, Connie" userId="73351e60-ad32-4085-a232-1d9f9b189479" providerId="ADAL" clId="{5F87A5E2-C2A2-4F23-BC8C-28F7F5EA6CA7}" dt="2024-03-31T13:11:47.309" v="21535" actId="478"/>
          <ac:cxnSpMkLst>
            <pc:docMk/>
            <pc:sldMk cId="130815812" sldId="2147376839"/>
            <ac:cxnSpMk id="11" creationId="{975E32D2-5DB9-DE83-8976-E70EE8A8255D}"/>
          </ac:cxnSpMkLst>
        </pc:cxnChg>
      </pc:sldChg>
      <pc:sldChg chg="addSp modSp add mod">
        <pc:chgData name="Clark, Connie" userId="73351e60-ad32-4085-a232-1d9f9b189479" providerId="ADAL" clId="{5F87A5E2-C2A2-4F23-BC8C-28F7F5EA6CA7}" dt="2024-04-01T04:41:28.549" v="26353"/>
        <pc:sldMkLst>
          <pc:docMk/>
          <pc:sldMk cId="2782194052" sldId="2147376840"/>
        </pc:sldMkLst>
        <pc:spChg chg="add mod">
          <ac:chgData name="Clark, Connie" userId="73351e60-ad32-4085-a232-1d9f9b189479" providerId="ADAL" clId="{5F87A5E2-C2A2-4F23-BC8C-28F7F5EA6CA7}" dt="2024-04-01T04:41:28.549" v="26353"/>
          <ac:spMkLst>
            <pc:docMk/>
            <pc:sldMk cId="2782194052" sldId="2147376840"/>
            <ac:spMk id="11" creationId="{BA2ED72C-8089-0E33-117A-4B5BD588BB15}"/>
          </ac:spMkLst>
        </pc:spChg>
        <pc:spChg chg="add mod">
          <ac:chgData name="Clark, Connie" userId="73351e60-ad32-4085-a232-1d9f9b189479" providerId="ADAL" clId="{5F87A5E2-C2A2-4F23-BC8C-28F7F5EA6CA7}" dt="2024-04-01T04:41:28.549" v="26353"/>
          <ac:spMkLst>
            <pc:docMk/>
            <pc:sldMk cId="2782194052" sldId="2147376840"/>
            <ac:spMk id="12" creationId="{9A39347C-F817-2FB4-2A39-FCD8A28D6536}"/>
          </ac:spMkLst>
        </pc:spChg>
        <pc:spChg chg="add mod">
          <ac:chgData name="Clark, Connie" userId="73351e60-ad32-4085-a232-1d9f9b189479" providerId="ADAL" clId="{5F87A5E2-C2A2-4F23-BC8C-28F7F5EA6CA7}" dt="2024-04-01T04:41:28.549" v="26353"/>
          <ac:spMkLst>
            <pc:docMk/>
            <pc:sldMk cId="2782194052" sldId="2147376840"/>
            <ac:spMk id="13" creationId="{BF529344-DEE9-33C9-67E2-C1B2C9C110F5}"/>
          </ac:spMkLst>
        </pc:spChg>
        <pc:spChg chg="mod">
          <ac:chgData name="Clark, Connie" userId="73351e60-ad32-4085-a232-1d9f9b189479" providerId="ADAL" clId="{5F87A5E2-C2A2-4F23-BC8C-28F7F5EA6CA7}" dt="2024-04-01T01:21:41.039" v="24598" actId="20577"/>
          <ac:spMkLst>
            <pc:docMk/>
            <pc:sldMk cId="2782194052" sldId="2147376840"/>
            <ac:spMk id="28" creationId="{1F8DDD3D-F18B-23CB-BD17-0E093682ED6F}"/>
          </ac:spMkLst>
        </pc:spChg>
        <pc:picChg chg="add mod">
          <ac:chgData name="Clark, Connie" userId="73351e60-ad32-4085-a232-1d9f9b189479" providerId="ADAL" clId="{5F87A5E2-C2A2-4F23-BC8C-28F7F5EA6CA7}" dt="2024-04-01T01:21:52.579" v="24599" actId="1076"/>
          <ac:picMkLst>
            <pc:docMk/>
            <pc:sldMk cId="2782194052" sldId="2147376840"/>
            <ac:picMk id="4" creationId="{AE9161F6-37BC-BF74-9833-EA4A1A972C8F}"/>
          </ac:picMkLst>
        </pc:picChg>
        <pc:picChg chg="add mod">
          <ac:chgData name="Clark, Connie" userId="73351e60-ad32-4085-a232-1d9f9b189479" providerId="ADAL" clId="{5F87A5E2-C2A2-4F23-BC8C-28F7F5EA6CA7}" dt="2024-04-01T01:21:02.993" v="24574" actId="1076"/>
          <ac:picMkLst>
            <pc:docMk/>
            <pc:sldMk cId="2782194052" sldId="2147376840"/>
            <ac:picMk id="6" creationId="{D0FBAF05-6A30-DD51-A29C-3B9AB4DC8B04}"/>
          </ac:picMkLst>
        </pc:picChg>
        <pc:picChg chg="add mod">
          <ac:chgData name="Clark, Connie" userId="73351e60-ad32-4085-a232-1d9f9b189479" providerId="ADAL" clId="{5F87A5E2-C2A2-4F23-BC8C-28F7F5EA6CA7}" dt="2024-04-01T04:20:38.271" v="26345" actId="1076"/>
          <ac:picMkLst>
            <pc:docMk/>
            <pc:sldMk cId="2782194052" sldId="2147376840"/>
            <ac:picMk id="8" creationId="{8829ABC0-6421-4EB7-F9B6-D694916B346B}"/>
          </ac:picMkLst>
        </pc:picChg>
        <pc:picChg chg="add mod">
          <ac:chgData name="Clark, Connie" userId="73351e60-ad32-4085-a232-1d9f9b189479" providerId="ADAL" clId="{5F87A5E2-C2A2-4F23-BC8C-28F7F5EA6CA7}" dt="2024-04-01T04:20:35.449" v="26344" actId="1076"/>
          <ac:picMkLst>
            <pc:docMk/>
            <pc:sldMk cId="2782194052" sldId="2147376840"/>
            <ac:picMk id="10" creationId="{7CF3005F-A760-13F0-3BA4-A64BB6E3A334}"/>
          </ac:picMkLst>
        </pc:picChg>
      </pc:sldChg>
      <pc:sldChg chg="modSp add mod">
        <pc:chgData name="Clark, Connie" userId="73351e60-ad32-4085-a232-1d9f9b189479" providerId="ADAL" clId="{5F87A5E2-C2A2-4F23-BC8C-28F7F5EA6CA7}" dt="2024-03-31T13:18:09.307" v="21684" actId="20577"/>
        <pc:sldMkLst>
          <pc:docMk/>
          <pc:sldMk cId="2226021474" sldId="2147376841"/>
        </pc:sldMkLst>
        <pc:spChg chg="mod">
          <ac:chgData name="Clark, Connie" userId="73351e60-ad32-4085-a232-1d9f9b189479" providerId="ADAL" clId="{5F87A5E2-C2A2-4F23-BC8C-28F7F5EA6CA7}" dt="2024-03-31T13:18:09.307" v="21684" actId="20577"/>
          <ac:spMkLst>
            <pc:docMk/>
            <pc:sldMk cId="2226021474" sldId="2147376841"/>
            <ac:spMk id="9" creationId="{9471083A-98D2-8F37-7493-9C680DF70067}"/>
          </ac:spMkLst>
        </pc:spChg>
        <pc:spChg chg="mod">
          <ac:chgData name="Clark, Connie" userId="73351e60-ad32-4085-a232-1d9f9b189479" providerId="ADAL" clId="{5F87A5E2-C2A2-4F23-BC8C-28F7F5EA6CA7}" dt="2024-03-31T13:17:55.298" v="21682" actId="1076"/>
          <ac:spMkLst>
            <pc:docMk/>
            <pc:sldMk cId="2226021474" sldId="2147376841"/>
            <ac:spMk id="11" creationId="{1833051D-5018-DEC2-8B44-9059B75ED28A}"/>
          </ac:spMkLst>
        </pc:spChg>
      </pc:sldChg>
      <pc:sldChg chg="modSp add mod ord">
        <pc:chgData name="Clark, Connie" userId="73351e60-ad32-4085-a232-1d9f9b189479" providerId="ADAL" clId="{5F87A5E2-C2A2-4F23-BC8C-28F7F5EA6CA7}" dt="2024-04-02T13:06:02.968" v="26391" actId="20577"/>
        <pc:sldMkLst>
          <pc:docMk/>
          <pc:sldMk cId="2905105721" sldId="2147376842"/>
        </pc:sldMkLst>
        <pc:spChg chg="mod">
          <ac:chgData name="Clark, Connie" userId="73351e60-ad32-4085-a232-1d9f9b189479" providerId="ADAL" clId="{5F87A5E2-C2A2-4F23-BC8C-28F7F5EA6CA7}" dt="2024-03-31T13:19:59.416" v="21706" actId="1076"/>
          <ac:spMkLst>
            <pc:docMk/>
            <pc:sldMk cId="2905105721" sldId="2147376842"/>
            <ac:spMk id="2" creationId="{A465A6E4-652C-2DC7-86B4-5B8234941BEF}"/>
          </ac:spMkLst>
        </pc:spChg>
        <pc:spChg chg="mod">
          <ac:chgData name="Clark, Connie" userId="73351e60-ad32-4085-a232-1d9f9b189479" providerId="ADAL" clId="{5F87A5E2-C2A2-4F23-BC8C-28F7F5EA6CA7}" dt="2024-04-02T13:06:02.968" v="26391" actId="20577"/>
          <ac:spMkLst>
            <pc:docMk/>
            <pc:sldMk cId="2905105721" sldId="2147376842"/>
            <ac:spMk id="11" creationId="{1833051D-5018-DEC2-8B44-9059B75ED28A}"/>
          </ac:spMkLst>
        </pc:spChg>
        <pc:picChg chg="mod">
          <ac:chgData name="Clark, Connie" userId="73351e60-ad32-4085-a232-1d9f9b189479" providerId="ADAL" clId="{5F87A5E2-C2A2-4F23-BC8C-28F7F5EA6CA7}" dt="2024-03-31T13:18:48.105" v="21687" actId="14100"/>
          <ac:picMkLst>
            <pc:docMk/>
            <pc:sldMk cId="2905105721" sldId="2147376842"/>
            <ac:picMk id="8" creationId="{0279D2A0-4078-433D-7EDF-D4697D229A31}"/>
          </ac:picMkLst>
        </pc:picChg>
      </pc:sldChg>
      <pc:sldChg chg="addSp delSp modSp add del mod ord">
        <pc:chgData name="Clark, Connie" userId="73351e60-ad32-4085-a232-1d9f9b189479" providerId="ADAL" clId="{5F87A5E2-C2A2-4F23-BC8C-28F7F5EA6CA7}" dt="2024-05-24T00:09:13.161" v="31035" actId="2696"/>
        <pc:sldMkLst>
          <pc:docMk/>
          <pc:sldMk cId="3966947107" sldId="2147376843"/>
        </pc:sldMkLst>
        <pc:spChg chg="add del mod">
          <ac:chgData name="Clark, Connie" userId="73351e60-ad32-4085-a232-1d9f9b189479" providerId="ADAL" clId="{5F87A5E2-C2A2-4F23-BC8C-28F7F5EA6CA7}" dt="2024-03-31T13:31:22.740" v="21793" actId="478"/>
          <ac:spMkLst>
            <pc:docMk/>
            <pc:sldMk cId="3966947107" sldId="2147376843"/>
            <ac:spMk id="3" creationId="{10431AD3-C124-C861-BF3B-DB6AECDBF958}"/>
          </ac:spMkLst>
        </pc:spChg>
        <pc:spChg chg="add mod">
          <ac:chgData name="Clark, Connie" userId="73351e60-ad32-4085-a232-1d9f9b189479" providerId="ADAL" clId="{5F87A5E2-C2A2-4F23-BC8C-28F7F5EA6CA7}" dt="2024-03-31T13:31:09.919" v="21791" actId="1076"/>
          <ac:spMkLst>
            <pc:docMk/>
            <pc:sldMk cId="3966947107" sldId="2147376843"/>
            <ac:spMk id="6" creationId="{E32411BE-2DAA-DBF4-E8F0-F7732CD2BEEE}"/>
          </ac:spMkLst>
        </pc:spChg>
        <pc:spChg chg="add mod">
          <ac:chgData name="Clark, Connie" userId="73351e60-ad32-4085-a232-1d9f9b189479" providerId="ADAL" clId="{5F87A5E2-C2A2-4F23-BC8C-28F7F5EA6CA7}" dt="2024-03-31T13:31:23.468" v="21794"/>
          <ac:spMkLst>
            <pc:docMk/>
            <pc:sldMk cId="3966947107" sldId="2147376843"/>
            <ac:spMk id="8" creationId="{7136AC0E-5D77-6DAB-8742-2D60F0B81AD0}"/>
          </ac:spMkLst>
        </pc:spChg>
        <pc:spChg chg="add mod">
          <ac:chgData name="Clark, Connie" userId="73351e60-ad32-4085-a232-1d9f9b189479" providerId="ADAL" clId="{5F87A5E2-C2A2-4F23-BC8C-28F7F5EA6CA7}" dt="2024-04-01T01:13:58.772" v="24544" actId="121"/>
          <ac:spMkLst>
            <pc:docMk/>
            <pc:sldMk cId="3966947107" sldId="2147376843"/>
            <ac:spMk id="9" creationId="{7743B79F-167C-049D-B0AD-CB478FFF1A47}"/>
          </ac:spMkLst>
        </pc:spChg>
        <pc:spChg chg="add mod">
          <ac:chgData name="Clark, Connie" userId="73351e60-ad32-4085-a232-1d9f9b189479" providerId="ADAL" clId="{5F87A5E2-C2A2-4F23-BC8C-28F7F5EA6CA7}" dt="2024-03-31T13:32:58.939" v="21885" actId="20577"/>
          <ac:spMkLst>
            <pc:docMk/>
            <pc:sldMk cId="3966947107" sldId="2147376843"/>
            <ac:spMk id="10" creationId="{CF8A9DD5-542C-1F3C-5326-106319E0E5D9}"/>
          </ac:spMkLst>
        </pc:spChg>
        <pc:spChg chg="del">
          <ac:chgData name="Clark, Connie" userId="73351e60-ad32-4085-a232-1d9f9b189479" providerId="ADAL" clId="{5F87A5E2-C2A2-4F23-BC8C-28F7F5EA6CA7}" dt="2024-03-31T13:31:22.740" v="21793" actId="478"/>
          <ac:spMkLst>
            <pc:docMk/>
            <pc:sldMk cId="3966947107" sldId="2147376843"/>
            <ac:spMk id="12" creationId="{CDD6D4F2-1B60-134F-7CED-F8253C59D695}"/>
          </ac:spMkLst>
        </pc:spChg>
        <pc:spChg chg="del mod">
          <ac:chgData name="Clark, Connie" userId="73351e60-ad32-4085-a232-1d9f9b189479" providerId="ADAL" clId="{5F87A5E2-C2A2-4F23-BC8C-28F7F5EA6CA7}" dt="2024-03-31T13:31:22.740" v="21793" actId="478"/>
          <ac:spMkLst>
            <pc:docMk/>
            <pc:sldMk cId="3966947107" sldId="2147376843"/>
            <ac:spMk id="13" creationId="{118F2745-C618-E868-67E6-39F4717389BF}"/>
          </ac:spMkLst>
        </pc:spChg>
        <pc:spChg chg="del">
          <ac:chgData name="Clark, Connie" userId="73351e60-ad32-4085-a232-1d9f9b189479" providerId="ADAL" clId="{5F87A5E2-C2A2-4F23-BC8C-28F7F5EA6CA7}" dt="2024-03-31T13:31:22.740" v="21793" actId="478"/>
          <ac:spMkLst>
            <pc:docMk/>
            <pc:sldMk cId="3966947107" sldId="2147376843"/>
            <ac:spMk id="14" creationId="{11DA86C6-6F0A-256F-8809-37C7B14E60D7}"/>
          </ac:spMkLst>
        </pc:spChg>
        <pc:spChg chg="add mod">
          <ac:chgData name="Clark, Connie" userId="73351e60-ad32-4085-a232-1d9f9b189479" providerId="ADAL" clId="{5F87A5E2-C2A2-4F23-BC8C-28F7F5EA6CA7}" dt="2024-03-31T13:31:23.468" v="21794"/>
          <ac:spMkLst>
            <pc:docMk/>
            <pc:sldMk cId="3966947107" sldId="2147376843"/>
            <ac:spMk id="15" creationId="{119C64BF-75F8-623F-202C-1D3985011A27}"/>
          </ac:spMkLst>
        </pc:spChg>
        <pc:spChg chg="mod">
          <ac:chgData name="Clark, Connie" userId="73351e60-ad32-4085-a232-1d9f9b189479" providerId="ADAL" clId="{5F87A5E2-C2A2-4F23-BC8C-28F7F5EA6CA7}" dt="2024-04-01T01:45:31.394" v="24850" actId="113"/>
          <ac:spMkLst>
            <pc:docMk/>
            <pc:sldMk cId="3966947107" sldId="2147376843"/>
            <ac:spMk id="16" creationId="{E2DE819F-8838-EE91-2689-38C630CDFEF8}"/>
          </ac:spMkLst>
        </pc:spChg>
        <pc:picChg chg="add del mod">
          <ac:chgData name="Clark, Connie" userId="73351e60-ad32-4085-a232-1d9f9b189479" providerId="ADAL" clId="{5F87A5E2-C2A2-4F23-BC8C-28F7F5EA6CA7}" dt="2024-03-31T13:30:52.198" v="21789" actId="478"/>
          <ac:picMkLst>
            <pc:docMk/>
            <pc:sldMk cId="3966947107" sldId="2147376843"/>
            <ac:picMk id="5" creationId="{1865879F-B927-B093-8BB8-16D4367A2385}"/>
          </ac:picMkLst>
        </pc:picChg>
        <pc:picChg chg="add mod">
          <ac:chgData name="Clark, Connie" userId="73351e60-ad32-4085-a232-1d9f9b189479" providerId="ADAL" clId="{5F87A5E2-C2A2-4F23-BC8C-28F7F5EA6CA7}" dt="2024-03-31T13:31:17.024" v="21792" actId="1076"/>
          <ac:picMkLst>
            <pc:docMk/>
            <pc:sldMk cId="3966947107" sldId="2147376843"/>
            <ac:picMk id="7" creationId="{150FEA0B-CE7E-FD6E-30EF-4561AFDF6785}"/>
          </ac:picMkLst>
        </pc:picChg>
        <pc:picChg chg="del">
          <ac:chgData name="Clark, Connie" userId="73351e60-ad32-4085-a232-1d9f9b189479" providerId="ADAL" clId="{5F87A5E2-C2A2-4F23-BC8C-28F7F5EA6CA7}" dt="2024-03-31T13:31:05.348" v="21790" actId="478"/>
          <ac:picMkLst>
            <pc:docMk/>
            <pc:sldMk cId="3966947107" sldId="2147376843"/>
            <ac:picMk id="11" creationId="{01E0E386-D980-CE8E-622E-771BDA49C86A}"/>
          </ac:picMkLst>
        </pc:picChg>
      </pc:sldChg>
      <pc:sldChg chg="modSp add mod">
        <pc:chgData name="Clark, Connie" userId="73351e60-ad32-4085-a232-1d9f9b189479" providerId="ADAL" clId="{5F87A5E2-C2A2-4F23-BC8C-28F7F5EA6CA7}" dt="2024-04-01T01:15:01.359" v="24559" actId="1076"/>
        <pc:sldMkLst>
          <pc:docMk/>
          <pc:sldMk cId="1236627696" sldId="2147376844"/>
        </pc:sldMkLst>
        <pc:spChg chg="mod">
          <ac:chgData name="Clark, Connie" userId="73351e60-ad32-4085-a232-1d9f9b189479" providerId="ADAL" clId="{5F87A5E2-C2A2-4F23-BC8C-28F7F5EA6CA7}" dt="2024-04-01T01:13:48.870" v="24543" actId="20577"/>
          <ac:spMkLst>
            <pc:docMk/>
            <pc:sldMk cId="1236627696" sldId="2147376844"/>
            <ac:spMk id="9" creationId="{7743B79F-167C-049D-B0AD-CB478FFF1A47}"/>
          </ac:spMkLst>
        </pc:spChg>
        <pc:spChg chg="mod">
          <ac:chgData name="Clark, Connie" userId="73351e60-ad32-4085-a232-1d9f9b189479" providerId="ADAL" clId="{5F87A5E2-C2A2-4F23-BC8C-28F7F5EA6CA7}" dt="2024-04-01T01:13:41.606" v="24542" actId="20577"/>
          <ac:spMkLst>
            <pc:docMk/>
            <pc:sldMk cId="1236627696" sldId="2147376844"/>
            <ac:spMk id="10" creationId="{CF8A9DD5-542C-1F3C-5326-106319E0E5D9}"/>
          </ac:spMkLst>
        </pc:spChg>
        <pc:spChg chg="mod">
          <ac:chgData name="Clark, Connie" userId="73351e60-ad32-4085-a232-1d9f9b189479" providerId="ADAL" clId="{5F87A5E2-C2A2-4F23-BC8C-28F7F5EA6CA7}" dt="2024-04-01T01:15:01.359" v="24559" actId="1076"/>
          <ac:spMkLst>
            <pc:docMk/>
            <pc:sldMk cId="1236627696" sldId="2147376844"/>
            <ac:spMk id="16" creationId="{E2DE819F-8838-EE91-2689-38C630CDFEF8}"/>
          </ac:spMkLst>
        </pc:spChg>
      </pc:sldChg>
      <pc:sldChg chg="addSp modSp add mod">
        <pc:chgData name="Clark, Connie" userId="73351e60-ad32-4085-a232-1d9f9b189479" providerId="ADAL" clId="{5F87A5E2-C2A2-4F23-BC8C-28F7F5EA6CA7}" dt="2024-04-01T04:40:44.134" v="26351" actId="1076"/>
        <pc:sldMkLst>
          <pc:docMk/>
          <pc:sldMk cId="3332456219" sldId="2147376845"/>
        </pc:sldMkLst>
        <pc:spChg chg="mod">
          <ac:chgData name="Clark, Connie" userId="73351e60-ad32-4085-a232-1d9f9b189479" providerId="ADAL" clId="{5F87A5E2-C2A2-4F23-BC8C-28F7F5EA6CA7}" dt="2024-04-01T04:40:40.101" v="26350" actId="20577"/>
          <ac:spMkLst>
            <pc:docMk/>
            <pc:sldMk cId="3332456219" sldId="2147376845"/>
            <ac:spMk id="28" creationId="{1F8DDD3D-F18B-23CB-BD17-0E093682ED6F}"/>
          </ac:spMkLst>
        </pc:spChg>
        <pc:picChg chg="add mod">
          <ac:chgData name="Clark, Connie" userId="73351e60-ad32-4085-a232-1d9f9b189479" providerId="ADAL" clId="{5F87A5E2-C2A2-4F23-BC8C-28F7F5EA6CA7}" dt="2024-04-01T04:40:44.134" v="26351" actId="1076"/>
          <ac:picMkLst>
            <pc:docMk/>
            <pc:sldMk cId="3332456219" sldId="2147376845"/>
            <ac:picMk id="4" creationId="{69E97364-79C2-723B-614C-78FBDBACD372}"/>
          </ac:picMkLst>
        </pc:picChg>
      </pc:sldChg>
      <pc:sldChg chg="add">
        <pc:chgData name="Clark, Connie" userId="73351e60-ad32-4085-a232-1d9f9b189479" providerId="ADAL" clId="{5F87A5E2-C2A2-4F23-BC8C-28F7F5EA6CA7}" dt="2024-04-01T01:15:45.178" v="24564"/>
        <pc:sldMkLst>
          <pc:docMk/>
          <pc:sldMk cId="2261528307" sldId="2147376846"/>
        </pc:sldMkLst>
      </pc:sldChg>
      <pc:sldChg chg="add">
        <pc:chgData name="Clark, Connie" userId="73351e60-ad32-4085-a232-1d9f9b189479" providerId="ADAL" clId="{5F87A5E2-C2A2-4F23-BC8C-28F7F5EA6CA7}" dt="2024-04-01T01:15:46.222" v="24565"/>
        <pc:sldMkLst>
          <pc:docMk/>
          <pc:sldMk cId="2339712558" sldId="2147376847"/>
        </pc:sldMkLst>
      </pc:sldChg>
      <pc:sldChg chg="addSp delSp modSp add mod">
        <pc:chgData name="Clark, Connie" userId="73351e60-ad32-4085-a232-1d9f9b189479" providerId="ADAL" clId="{5F87A5E2-C2A2-4F23-BC8C-28F7F5EA6CA7}" dt="2024-04-03T13:35:05.672" v="27699" actId="20577"/>
        <pc:sldMkLst>
          <pc:docMk/>
          <pc:sldMk cId="3905004759" sldId="2147376848"/>
        </pc:sldMkLst>
        <pc:spChg chg="add del mod">
          <ac:chgData name="Clark, Connie" userId="73351e60-ad32-4085-a232-1d9f9b189479" providerId="ADAL" clId="{5F87A5E2-C2A2-4F23-BC8C-28F7F5EA6CA7}" dt="2024-04-03T13:35:05.672" v="27699" actId="20577"/>
          <ac:spMkLst>
            <pc:docMk/>
            <pc:sldMk cId="3905004759" sldId="2147376848"/>
            <ac:spMk id="4" creationId="{845EE7AF-4AF2-A79F-7D16-3D94B240539E}"/>
          </ac:spMkLst>
        </pc:spChg>
        <pc:spChg chg="mod">
          <ac:chgData name="Clark, Connie" userId="73351e60-ad32-4085-a232-1d9f9b189479" providerId="ADAL" clId="{5F87A5E2-C2A2-4F23-BC8C-28F7F5EA6CA7}" dt="2024-04-03T13:34:44.030" v="27693" actId="20577"/>
          <ac:spMkLst>
            <pc:docMk/>
            <pc:sldMk cId="3905004759" sldId="2147376848"/>
            <ac:spMk id="28" creationId="{1F8DDD3D-F18B-23CB-BD17-0E093682ED6F}"/>
          </ac:spMkLst>
        </pc:spChg>
      </pc:sldChg>
      <pc:sldChg chg="addSp delSp modSp add del mod">
        <pc:chgData name="Clark, Connie" userId="73351e60-ad32-4085-a232-1d9f9b189479" providerId="ADAL" clId="{5F87A5E2-C2A2-4F23-BC8C-28F7F5EA6CA7}" dt="2024-05-24T00:09:13.161" v="31035" actId="2696"/>
        <pc:sldMkLst>
          <pc:docMk/>
          <pc:sldMk cId="1049041551" sldId="2147376849"/>
        </pc:sldMkLst>
        <pc:spChg chg="add mod">
          <ac:chgData name="Clark, Connie" userId="73351e60-ad32-4085-a232-1d9f9b189479" providerId="ADAL" clId="{5F87A5E2-C2A2-4F23-BC8C-28F7F5EA6CA7}" dt="2024-04-01T01:27:44.761" v="24632" actId="1076"/>
          <ac:spMkLst>
            <pc:docMk/>
            <pc:sldMk cId="1049041551" sldId="2147376849"/>
            <ac:spMk id="2" creationId="{C3BBFE52-03B4-994D-A1EB-ED46363399E3}"/>
          </ac:spMkLst>
        </pc:spChg>
        <pc:spChg chg="add del mod">
          <ac:chgData name="Clark, Connie" userId="73351e60-ad32-4085-a232-1d9f9b189479" providerId="ADAL" clId="{5F87A5E2-C2A2-4F23-BC8C-28F7F5EA6CA7}" dt="2024-04-01T01:27:26.677" v="24628" actId="478"/>
          <ac:spMkLst>
            <pc:docMk/>
            <pc:sldMk cId="1049041551" sldId="2147376849"/>
            <ac:spMk id="3" creationId="{2A8EC392-3A46-C733-3C44-D8B3FC1B9F10}"/>
          </ac:spMkLst>
        </pc:spChg>
        <pc:spChg chg="add del mod">
          <ac:chgData name="Clark, Connie" userId="73351e60-ad32-4085-a232-1d9f9b189479" providerId="ADAL" clId="{5F87A5E2-C2A2-4F23-BC8C-28F7F5EA6CA7}" dt="2024-04-01T01:31:32.284" v="24703" actId="20577"/>
          <ac:spMkLst>
            <pc:docMk/>
            <pc:sldMk cId="1049041551" sldId="2147376849"/>
            <ac:spMk id="5" creationId="{5ED6C04F-D1D3-7E2C-B9A3-6ECD4904CDB5}"/>
          </ac:spMkLst>
        </pc:spChg>
        <pc:spChg chg="del">
          <ac:chgData name="Clark, Connie" userId="73351e60-ad32-4085-a232-1d9f9b189479" providerId="ADAL" clId="{5F87A5E2-C2A2-4F23-BC8C-28F7F5EA6CA7}" dt="2024-04-01T01:25:19.331" v="24602" actId="478"/>
          <ac:spMkLst>
            <pc:docMk/>
            <pc:sldMk cId="1049041551" sldId="2147376849"/>
            <ac:spMk id="8" creationId="{6D3FA199-8828-B47C-8645-4C096C8B6F2A}"/>
          </ac:spMkLst>
        </pc:spChg>
        <pc:spChg chg="add del mod">
          <ac:chgData name="Clark, Connie" userId="73351e60-ad32-4085-a232-1d9f9b189479" providerId="ADAL" clId="{5F87A5E2-C2A2-4F23-BC8C-28F7F5EA6CA7}" dt="2024-04-01T01:30:55.364" v="24697" actId="478"/>
          <ac:spMkLst>
            <pc:docMk/>
            <pc:sldMk cId="1049041551" sldId="2147376849"/>
            <ac:spMk id="9" creationId="{713FE7DA-A6B9-C0D6-0078-288430324F90}"/>
          </ac:spMkLst>
        </pc:spChg>
        <pc:spChg chg="add mod">
          <ac:chgData name="Clark, Connie" userId="73351e60-ad32-4085-a232-1d9f9b189479" providerId="ADAL" clId="{5F87A5E2-C2A2-4F23-BC8C-28F7F5EA6CA7}" dt="2024-04-01T01:32:19.487" v="24710" actId="1076"/>
          <ac:spMkLst>
            <pc:docMk/>
            <pc:sldMk cId="1049041551" sldId="2147376849"/>
            <ac:spMk id="10" creationId="{387799AB-D960-ADBB-51C0-D33E81D9FB77}"/>
          </ac:spMkLst>
        </pc:spChg>
        <pc:spChg chg="del">
          <ac:chgData name="Clark, Connie" userId="73351e60-ad32-4085-a232-1d9f9b189479" providerId="ADAL" clId="{5F87A5E2-C2A2-4F23-BC8C-28F7F5EA6CA7}" dt="2024-04-01T01:25:16.004" v="24601" actId="478"/>
          <ac:spMkLst>
            <pc:docMk/>
            <pc:sldMk cId="1049041551" sldId="2147376849"/>
            <ac:spMk id="13" creationId="{A9D73DFA-9E11-88EA-6A88-6E9AFBA7D6A7}"/>
          </ac:spMkLst>
        </pc:spChg>
        <pc:spChg chg="del">
          <ac:chgData name="Clark, Connie" userId="73351e60-ad32-4085-a232-1d9f9b189479" providerId="ADAL" clId="{5F87A5E2-C2A2-4F23-BC8C-28F7F5EA6CA7}" dt="2024-04-01T01:25:16.004" v="24601" actId="478"/>
          <ac:spMkLst>
            <pc:docMk/>
            <pc:sldMk cId="1049041551" sldId="2147376849"/>
            <ac:spMk id="14" creationId="{A3B3190F-9A64-B503-CDEC-F7B2BE953EB9}"/>
          </ac:spMkLst>
        </pc:spChg>
        <pc:spChg chg="del">
          <ac:chgData name="Clark, Connie" userId="73351e60-ad32-4085-a232-1d9f9b189479" providerId="ADAL" clId="{5F87A5E2-C2A2-4F23-BC8C-28F7F5EA6CA7}" dt="2024-04-01T01:25:16.004" v="24601" actId="478"/>
          <ac:spMkLst>
            <pc:docMk/>
            <pc:sldMk cId="1049041551" sldId="2147376849"/>
            <ac:spMk id="15" creationId="{7A6E3E9F-C1BA-82DF-8EC7-72D525BDB8A2}"/>
          </ac:spMkLst>
        </pc:spChg>
        <pc:spChg chg="del">
          <ac:chgData name="Clark, Connie" userId="73351e60-ad32-4085-a232-1d9f9b189479" providerId="ADAL" clId="{5F87A5E2-C2A2-4F23-BC8C-28F7F5EA6CA7}" dt="2024-04-01T01:25:16.004" v="24601" actId="478"/>
          <ac:spMkLst>
            <pc:docMk/>
            <pc:sldMk cId="1049041551" sldId="2147376849"/>
            <ac:spMk id="16" creationId="{A4D21ED5-E00E-AA3C-FC40-7F2352EFD271}"/>
          </ac:spMkLst>
        </pc:spChg>
        <pc:spChg chg="del">
          <ac:chgData name="Clark, Connie" userId="73351e60-ad32-4085-a232-1d9f9b189479" providerId="ADAL" clId="{5F87A5E2-C2A2-4F23-BC8C-28F7F5EA6CA7}" dt="2024-04-01T01:25:16.004" v="24601" actId="478"/>
          <ac:spMkLst>
            <pc:docMk/>
            <pc:sldMk cId="1049041551" sldId="2147376849"/>
            <ac:spMk id="17" creationId="{BD0FFEEB-E84E-CF26-FEDE-8815ED8CF0C8}"/>
          </ac:spMkLst>
        </pc:spChg>
        <pc:spChg chg="del">
          <ac:chgData name="Clark, Connie" userId="73351e60-ad32-4085-a232-1d9f9b189479" providerId="ADAL" clId="{5F87A5E2-C2A2-4F23-BC8C-28F7F5EA6CA7}" dt="2024-04-01T01:25:16.004" v="24601" actId="478"/>
          <ac:spMkLst>
            <pc:docMk/>
            <pc:sldMk cId="1049041551" sldId="2147376849"/>
            <ac:spMk id="21" creationId="{904878E7-8B42-C1D3-EA10-0860033F445A}"/>
          </ac:spMkLst>
        </pc:spChg>
        <pc:spChg chg="del">
          <ac:chgData name="Clark, Connie" userId="73351e60-ad32-4085-a232-1d9f9b189479" providerId="ADAL" clId="{5F87A5E2-C2A2-4F23-BC8C-28F7F5EA6CA7}" dt="2024-04-01T01:25:16.004" v="24601" actId="478"/>
          <ac:spMkLst>
            <pc:docMk/>
            <pc:sldMk cId="1049041551" sldId="2147376849"/>
            <ac:spMk id="22" creationId="{C85986E0-8E62-180F-59E8-2E6514703B33}"/>
          </ac:spMkLst>
        </pc:spChg>
        <pc:spChg chg="del">
          <ac:chgData name="Clark, Connie" userId="73351e60-ad32-4085-a232-1d9f9b189479" providerId="ADAL" clId="{5F87A5E2-C2A2-4F23-BC8C-28F7F5EA6CA7}" dt="2024-04-01T01:25:16.004" v="24601" actId="478"/>
          <ac:spMkLst>
            <pc:docMk/>
            <pc:sldMk cId="1049041551" sldId="2147376849"/>
            <ac:spMk id="23" creationId="{92750208-15EA-7165-A9B3-FE75BE9730BE}"/>
          </ac:spMkLst>
        </pc:spChg>
        <pc:spChg chg="del">
          <ac:chgData name="Clark, Connie" userId="73351e60-ad32-4085-a232-1d9f9b189479" providerId="ADAL" clId="{5F87A5E2-C2A2-4F23-BC8C-28F7F5EA6CA7}" dt="2024-04-01T01:25:16.004" v="24601" actId="478"/>
          <ac:spMkLst>
            <pc:docMk/>
            <pc:sldMk cId="1049041551" sldId="2147376849"/>
            <ac:spMk id="24" creationId="{DB9A2D5B-411B-D9CA-5C58-DA9F57A5A180}"/>
          </ac:spMkLst>
        </pc:spChg>
        <pc:spChg chg="del">
          <ac:chgData name="Clark, Connie" userId="73351e60-ad32-4085-a232-1d9f9b189479" providerId="ADAL" clId="{5F87A5E2-C2A2-4F23-BC8C-28F7F5EA6CA7}" dt="2024-04-01T01:25:16.004" v="24601" actId="478"/>
          <ac:spMkLst>
            <pc:docMk/>
            <pc:sldMk cId="1049041551" sldId="2147376849"/>
            <ac:spMk id="25" creationId="{16A1677D-7C5E-424B-12DF-9CA1850253CF}"/>
          </ac:spMkLst>
        </pc:spChg>
        <pc:spChg chg="del">
          <ac:chgData name="Clark, Connie" userId="73351e60-ad32-4085-a232-1d9f9b189479" providerId="ADAL" clId="{5F87A5E2-C2A2-4F23-BC8C-28F7F5EA6CA7}" dt="2024-04-01T01:25:16.004" v="24601" actId="478"/>
          <ac:spMkLst>
            <pc:docMk/>
            <pc:sldMk cId="1049041551" sldId="2147376849"/>
            <ac:spMk id="26" creationId="{84E85BB3-6FE5-E193-2682-C2D3CBBB7748}"/>
          </ac:spMkLst>
        </pc:spChg>
        <pc:spChg chg="del">
          <ac:chgData name="Clark, Connie" userId="73351e60-ad32-4085-a232-1d9f9b189479" providerId="ADAL" clId="{5F87A5E2-C2A2-4F23-BC8C-28F7F5EA6CA7}" dt="2024-04-01T01:25:16.004" v="24601" actId="478"/>
          <ac:spMkLst>
            <pc:docMk/>
            <pc:sldMk cId="1049041551" sldId="2147376849"/>
            <ac:spMk id="27" creationId="{4513018C-05B1-92A4-5B8F-3DC5328C406B}"/>
          </ac:spMkLst>
        </pc:spChg>
        <pc:spChg chg="del">
          <ac:chgData name="Clark, Connie" userId="73351e60-ad32-4085-a232-1d9f9b189479" providerId="ADAL" clId="{5F87A5E2-C2A2-4F23-BC8C-28F7F5EA6CA7}" dt="2024-04-01T01:25:43.883" v="24606" actId="478"/>
          <ac:spMkLst>
            <pc:docMk/>
            <pc:sldMk cId="1049041551" sldId="2147376849"/>
            <ac:spMk id="28" creationId="{1F8DDD3D-F18B-23CB-BD17-0E093682ED6F}"/>
          </ac:spMkLst>
        </pc:spChg>
        <pc:spChg chg="del">
          <ac:chgData name="Clark, Connie" userId="73351e60-ad32-4085-a232-1d9f9b189479" providerId="ADAL" clId="{5F87A5E2-C2A2-4F23-BC8C-28F7F5EA6CA7}" dt="2024-04-01T01:25:16.004" v="24601" actId="478"/>
          <ac:spMkLst>
            <pc:docMk/>
            <pc:sldMk cId="1049041551" sldId="2147376849"/>
            <ac:spMk id="31" creationId="{BF100AE5-778D-142F-750D-0107A394AFAF}"/>
          </ac:spMkLst>
        </pc:spChg>
        <pc:spChg chg="del">
          <ac:chgData name="Clark, Connie" userId="73351e60-ad32-4085-a232-1d9f9b189479" providerId="ADAL" clId="{5F87A5E2-C2A2-4F23-BC8C-28F7F5EA6CA7}" dt="2024-04-01T01:25:16.004" v="24601" actId="478"/>
          <ac:spMkLst>
            <pc:docMk/>
            <pc:sldMk cId="1049041551" sldId="2147376849"/>
            <ac:spMk id="64" creationId="{07722337-715A-116E-C751-58535842A48E}"/>
          </ac:spMkLst>
        </pc:spChg>
        <pc:spChg chg="del">
          <ac:chgData name="Clark, Connie" userId="73351e60-ad32-4085-a232-1d9f9b189479" providerId="ADAL" clId="{5F87A5E2-C2A2-4F23-BC8C-28F7F5EA6CA7}" dt="2024-04-01T01:25:16.004" v="24601" actId="478"/>
          <ac:spMkLst>
            <pc:docMk/>
            <pc:sldMk cId="1049041551" sldId="2147376849"/>
            <ac:spMk id="65" creationId="{99B6B7EE-E6D9-E611-BDB9-0D371835335C}"/>
          </ac:spMkLst>
        </pc:spChg>
        <pc:spChg chg="del">
          <ac:chgData name="Clark, Connie" userId="73351e60-ad32-4085-a232-1d9f9b189479" providerId="ADAL" clId="{5F87A5E2-C2A2-4F23-BC8C-28F7F5EA6CA7}" dt="2024-04-01T01:25:16.004" v="24601" actId="478"/>
          <ac:spMkLst>
            <pc:docMk/>
            <pc:sldMk cId="1049041551" sldId="2147376849"/>
            <ac:spMk id="67" creationId="{B844FA1D-46D9-3BED-D35A-F75D0D27AE54}"/>
          </ac:spMkLst>
        </pc:spChg>
        <pc:spChg chg="del">
          <ac:chgData name="Clark, Connie" userId="73351e60-ad32-4085-a232-1d9f9b189479" providerId="ADAL" clId="{5F87A5E2-C2A2-4F23-BC8C-28F7F5EA6CA7}" dt="2024-04-01T01:25:16.004" v="24601" actId="478"/>
          <ac:spMkLst>
            <pc:docMk/>
            <pc:sldMk cId="1049041551" sldId="2147376849"/>
            <ac:spMk id="68" creationId="{79F0AEA9-9D8C-95E3-BAFF-9AEB55F3B5C5}"/>
          </ac:spMkLst>
        </pc:spChg>
        <pc:spChg chg="del">
          <ac:chgData name="Clark, Connie" userId="73351e60-ad32-4085-a232-1d9f9b189479" providerId="ADAL" clId="{5F87A5E2-C2A2-4F23-BC8C-28F7F5EA6CA7}" dt="2024-04-01T01:25:16.004" v="24601" actId="478"/>
          <ac:spMkLst>
            <pc:docMk/>
            <pc:sldMk cId="1049041551" sldId="2147376849"/>
            <ac:spMk id="69" creationId="{0B878F98-23B8-32B3-BFC8-FDAF72D3556E}"/>
          </ac:spMkLst>
        </pc:spChg>
        <pc:spChg chg="del">
          <ac:chgData name="Clark, Connie" userId="73351e60-ad32-4085-a232-1d9f9b189479" providerId="ADAL" clId="{5F87A5E2-C2A2-4F23-BC8C-28F7F5EA6CA7}" dt="2024-04-01T01:25:16.004" v="24601" actId="478"/>
          <ac:spMkLst>
            <pc:docMk/>
            <pc:sldMk cId="1049041551" sldId="2147376849"/>
            <ac:spMk id="71" creationId="{0871A5D7-1DFC-7B2D-64D9-644607AA38B3}"/>
          </ac:spMkLst>
        </pc:spChg>
        <pc:picChg chg="add mod">
          <ac:chgData name="Clark, Connie" userId="73351e60-ad32-4085-a232-1d9f9b189479" providerId="ADAL" clId="{5F87A5E2-C2A2-4F23-BC8C-28F7F5EA6CA7}" dt="2024-04-01T01:30:20.101" v="24688" actId="1076"/>
          <ac:picMkLst>
            <pc:docMk/>
            <pc:sldMk cId="1049041551" sldId="2147376849"/>
            <ac:picMk id="4" creationId="{8B08642A-04DB-2141-0EB1-46901C40A453}"/>
          </ac:picMkLst>
        </pc:picChg>
        <pc:picChg chg="del mod">
          <ac:chgData name="Clark, Connie" userId="73351e60-ad32-4085-a232-1d9f9b189479" providerId="ADAL" clId="{5F87A5E2-C2A2-4F23-BC8C-28F7F5EA6CA7}" dt="2024-04-01T01:27:14.810" v="24625" actId="478"/>
          <ac:picMkLst>
            <pc:docMk/>
            <pc:sldMk cId="1049041551" sldId="2147376849"/>
            <ac:picMk id="103" creationId="{2AA2B223-8FCF-166A-3D5B-054F241DBE9D}"/>
          </ac:picMkLst>
        </pc:picChg>
      </pc:sldChg>
      <pc:sldChg chg="addSp delSp modSp add del mod ord">
        <pc:chgData name="Clark, Connie" userId="73351e60-ad32-4085-a232-1d9f9b189479" providerId="ADAL" clId="{5F87A5E2-C2A2-4F23-BC8C-28F7F5EA6CA7}" dt="2024-05-24T00:09:13.161" v="31035" actId="2696"/>
        <pc:sldMkLst>
          <pc:docMk/>
          <pc:sldMk cId="3739430429" sldId="2147376850"/>
        </pc:sldMkLst>
        <pc:spChg chg="mod">
          <ac:chgData name="Clark, Connie" userId="73351e60-ad32-4085-a232-1d9f9b189479" providerId="ADAL" clId="{5F87A5E2-C2A2-4F23-BC8C-28F7F5EA6CA7}" dt="2024-04-01T01:32:37.793" v="24720" actId="20577"/>
          <ac:spMkLst>
            <pc:docMk/>
            <pc:sldMk cId="3739430429" sldId="2147376850"/>
            <ac:spMk id="10" creationId="{387799AB-D960-ADBB-51C0-D33E81D9FB77}"/>
          </ac:spMkLst>
        </pc:spChg>
        <pc:picChg chg="add mod">
          <ac:chgData name="Clark, Connie" userId="73351e60-ad32-4085-a232-1d9f9b189479" providerId="ADAL" clId="{5F87A5E2-C2A2-4F23-BC8C-28F7F5EA6CA7}" dt="2024-04-01T01:33:15.521" v="24727" actId="1076"/>
          <ac:picMkLst>
            <pc:docMk/>
            <pc:sldMk cId="3739430429" sldId="2147376850"/>
            <ac:picMk id="3" creationId="{BA86FCCB-310F-3866-D856-4536EB1C30E6}"/>
          </ac:picMkLst>
        </pc:picChg>
        <pc:picChg chg="del">
          <ac:chgData name="Clark, Connie" userId="73351e60-ad32-4085-a232-1d9f9b189479" providerId="ADAL" clId="{5F87A5E2-C2A2-4F23-BC8C-28F7F5EA6CA7}" dt="2024-04-01T01:33:11.033" v="24726" actId="478"/>
          <ac:picMkLst>
            <pc:docMk/>
            <pc:sldMk cId="3739430429" sldId="2147376850"/>
            <ac:picMk id="4" creationId="{8B08642A-04DB-2141-0EB1-46901C40A453}"/>
          </ac:picMkLst>
        </pc:picChg>
      </pc:sldChg>
      <pc:sldChg chg="addSp delSp modSp add del mod">
        <pc:chgData name="Clark, Connie" userId="73351e60-ad32-4085-a232-1d9f9b189479" providerId="ADAL" clId="{5F87A5E2-C2A2-4F23-BC8C-28F7F5EA6CA7}" dt="2024-05-24T00:09:13.161" v="31035" actId="2696"/>
        <pc:sldMkLst>
          <pc:docMk/>
          <pc:sldMk cId="313722069" sldId="2147376851"/>
        </pc:sldMkLst>
        <pc:spChg chg="add del mod">
          <ac:chgData name="Clark, Connie" userId="73351e60-ad32-4085-a232-1d9f9b189479" providerId="ADAL" clId="{5F87A5E2-C2A2-4F23-BC8C-28F7F5EA6CA7}" dt="2024-04-01T01:33:51.953" v="24737"/>
          <ac:spMkLst>
            <pc:docMk/>
            <pc:sldMk cId="313722069" sldId="2147376851"/>
            <ac:spMk id="4" creationId="{39DFF5AE-742E-5B05-6D2E-02F8185DCC01}"/>
          </ac:spMkLst>
        </pc:spChg>
        <pc:spChg chg="add del mod">
          <ac:chgData name="Clark, Connie" userId="73351e60-ad32-4085-a232-1d9f9b189479" providerId="ADAL" clId="{5F87A5E2-C2A2-4F23-BC8C-28F7F5EA6CA7}" dt="2024-04-01T01:33:51.953" v="24737"/>
          <ac:spMkLst>
            <pc:docMk/>
            <pc:sldMk cId="313722069" sldId="2147376851"/>
            <ac:spMk id="8" creationId="{E77385C4-847E-5B2D-0BE2-F7F47CE3C9B0}"/>
          </ac:spMkLst>
        </pc:spChg>
        <pc:spChg chg="add del mod">
          <ac:chgData name="Clark, Connie" userId="73351e60-ad32-4085-a232-1d9f9b189479" providerId="ADAL" clId="{5F87A5E2-C2A2-4F23-BC8C-28F7F5EA6CA7}" dt="2024-04-01T01:33:51.953" v="24737"/>
          <ac:spMkLst>
            <pc:docMk/>
            <pc:sldMk cId="313722069" sldId="2147376851"/>
            <ac:spMk id="9" creationId="{016BDC70-FBDB-3DF0-B765-5139E9B277A8}"/>
          </ac:spMkLst>
        </pc:spChg>
        <pc:spChg chg="mod">
          <ac:chgData name="Clark, Connie" userId="73351e60-ad32-4085-a232-1d9f9b189479" providerId="ADAL" clId="{5F87A5E2-C2A2-4F23-BC8C-28F7F5EA6CA7}" dt="2024-04-01T01:33:30.911" v="24735" actId="20577"/>
          <ac:spMkLst>
            <pc:docMk/>
            <pc:sldMk cId="313722069" sldId="2147376851"/>
            <ac:spMk id="10" creationId="{387799AB-D960-ADBB-51C0-D33E81D9FB77}"/>
          </ac:spMkLst>
        </pc:spChg>
        <pc:picChg chg="del">
          <ac:chgData name="Clark, Connie" userId="73351e60-ad32-4085-a232-1d9f9b189479" providerId="ADAL" clId="{5F87A5E2-C2A2-4F23-BC8C-28F7F5EA6CA7}" dt="2024-04-01T01:34:05.490" v="24742" actId="478"/>
          <ac:picMkLst>
            <pc:docMk/>
            <pc:sldMk cId="313722069" sldId="2147376851"/>
            <ac:picMk id="3" creationId="{BA86FCCB-310F-3866-D856-4536EB1C30E6}"/>
          </ac:picMkLst>
        </pc:picChg>
        <pc:picChg chg="add mod">
          <ac:chgData name="Clark, Connie" userId="73351e60-ad32-4085-a232-1d9f9b189479" providerId="ADAL" clId="{5F87A5E2-C2A2-4F23-BC8C-28F7F5EA6CA7}" dt="2024-04-01T01:34:09.540" v="24743" actId="1076"/>
          <ac:picMkLst>
            <pc:docMk/>
            <pc:sldMk cId="313722069" sldId="2147376851"/>
            <ac:picMk id="11" creationId="{B9C36E05-FB2C-522A-BE56-DBC4FE0C35FB}"/>
          </ac:picMkLst>
        </pc:picChg>
      </pc:sldChg>
      <pc:sldChg chg="addSp delSp modSp add mod ord">
        <pc:chgData name="Clark, Connie" userId="73351e60-ad32-4085-a232-1d9f9b189479" providerId="ADAL" clId="{5F87A5E2-C2A2-4F23-BC8C-28F7F5EA6CA7}" dt="2024-04-01T03:44:09.625" v="26202" actId="1076"/>
        <pc:sldMkLst>
          <pc:docMk/>
          <pc:sldMk cId="2776914895" sldId="2147376852"/>
        </pc:sldMkLst>
        <pc:spChg chg="mod">
          <ac:chgData name="Clark, Connie" userId="73351e60-ad32-4085-a232-1d9f9b189479" providerId="ADAL" clId="{5F87A5E2-C2A2-4F23-BC8C-28F7F5EA6CA7}" dt="2024-04-01T02:59:18.901" v="25559" actId="20577"/>
          <ac:spMkLst>
            <pc:docMk/>
            <pc:sldMk cId="2776914895" sldId="2147376852"/>
            <ac:spMk id="3" creationId="{2F2D8F90-5626-85F5-D44D-9B050DAA83BF}"/>
          </ac:spMkLst>
        </pc:spChg>
        <pc:spChg chg="add del mod">
          <ac:chgData name="Clark, Connie" userId="73351e60-ad32-4085-a232-1d9f9b189479" providerId="ADAL" clId="{5F87A5E2-C2A2-4F23-BC8C-28F7F5EA6CA7}" dt="2024-04-01T02:51:42.306" v="25493" actId="478"/>
          <ac:spMkLst>
            <pc:docMk/>
            <pc:sldMk cId="2776914895" sldId="2147376852"/>
            <ac:spMk id="6" creationId="{76231A41-06DB-00A1-40F9-D7C7AC66E107}"/>
          </ac:spMkLst>
        </pc:spChg>
        <pc:spChg chg="del mod">
          <ac:chgData name="Clark, Connie" userId="73351e60-ad32-4085-a232-1d9f9b189479" providerId="ADAL" clId="{5F87A5E2-C2A2-4F23-BC8C-28F7F5EA6CA7}" dt="2024-04-01T01:42:05.824" v="24797" actId="478"/>
          <ac:spMkLst>
            <pc:docMk/>
            <pc:sldMk cId="2776914895" sldId="2147376852"/>
            <ac:spMk id="12" creationId="{E973EFAA-DA16-D1D2-D0EC-6C2D03FFF4AF}"/>
          </ac:spMkLst>
        </pc:spChg>
        <pc:spChg chg="add mod">
          <ac:chgData name="Clark, Connie" userId="73351e60-ad32-4085-a232-1d9f9b189479" providerId="ADAL" clId="{5F87A5E2-C2A2-4F23-BC8C-28F7F5EA6CA7}" dt="2024-04-01T03:04:47.808" v="25609" actId="20577"/>
          <ac:spMkLst>
            <pc:docMk/>
            <pc:sldMk cId="2776914895" sldId="2147376852"/>
            <ac:spMk id="13" creationId="{2B7DCA6E-9B75-24C8-EE74-01D3758A34B2}"/>
          </ac:spMkLst>
        </pc:spChg>
        <pc:spChg chg="add mod">
          <ac:chgData name="Clark, Connie" userId="73351e60-ad32-4085-a232-1d9f9b189479" providerId="ADAL" clId="{5F87A5E2-C2A2-4F23-BC8C-28F7F5EA6CA7}" dt="2024-04-01T03:08:14.103" v="25620" actId="1076"/>
          <ac:spMkLst>
            <pc:docMk/>
            <pc:sldMk cId="2776914895" sldId="2147376852"/>
            <ac:spMk id="21" creationId="{8CAA455C-5433-0895-E9A9-B646DBC9DE74}"/>
          </ac:spMkLst>
        </pc:spChg>
        <pc:spChg chg="mod">
          <ac:chgData name="Clark, Connie" userId="73351e60-ad32-4085-a232-1d9f9b189479" providerId="ADAL" clId="{5F87A5E2-C2A2-4F23-BC8C-28F7F5EA6CA7}" dt="2024-04-01T01:40:49.939" v="24791" actId="20577"/>
          <ac:spMkLst>
            <pc:docMk/>
            <pc:sldMk cId="2776914895" sldId="2147376852"/>
            <ac:spMk id="28" creationId="{1F8DDD3D-F18B-23CB-BD17-0E093682ED6F}"/>
          </ac:spMkLst>
        </pc:spChg>
        <pc:picChg chg="del">
          <ac:chgData name="Clark, Connie" userId="73351e60-ad32-4085-a232-1d9f9b189479" providerId="ADAL" clId="{5F87A5E2-C2A2-4F23-BC8C-28F7F5EA6CA7}" dt="2024-04-01T01:40:34.376" v="24765" actId="478"/>
          <ac:picMkLst>
            <pc:docMk/>
            <pc:sldMk cId="2776914895" sldId="2147376852"/>
            <ac:picMk id="5" creationId="{C3BC075A-C806-B9D2-E3A3-759F103D037F}"/>
          </ac:picMkLst>
        </pc:picChg>
        <pc:picChg chg="add del mod">
          <ac:chgData name="Clark, Connie" userId="73351e60-ad32-4085-a232-1d9f9b189479" providerId="ADAL" clId="{5F87A5E2-C2A2-4F23-BC8C-28F7F5EA6CA7}" dt="2024-04-01T03:04:58.036" v="25612" actId="478"/>
          <ac:picMkLst>
            <pc:docMk/>
            <pc:sldMk cId="2776914895" sldId="2147376852"/>
            <ac:picMk id="8" creationId="{5B007BF3-3D15-7C0F-1358-5B6ACCB582BA}"/>
          </ac:picMkLst>
        </pc:picChg>
        <pc:picChg chg="add del mod">
          <ac:chgData name="Clark, Connie" userId="73351e60-ad32-4085-a232-1d9f9b189479" providerId="ADAL" clId="{5F87A5E2-C2A2-4F23-BC8C-28F7F5EA6CA7}" dt="2024-04-01T03:04:55.536" v="25611" actId="478"/>
          <ac:picMkLst>
            <pc:docMk/>
            <pc:sldMk cId="2776914895" sldId="2147376852"/>
            <ac:picMk id="10" creationId="{89AE37C7-EA63-05C3-9ADD-95E83947D7C6}"/>
          </ac:picMkLst>
        </pc:picChg>
        <pc:picChg chg="add mod">
          <ac:chgData name="Clark, Connie" userId="73351e60-ad32-4085-a232-1d9f9b189479" providerId="ADAL" clId="{5F87A5E2-C2A2-4F23-BC8C-28F7F5EA6CA7}" dt="2024-04-01T03:04:54.407" v="25610" actId="1076"/>
          <ac:picMkLst>
            <pc:docMk/>
            <pc:sldMk cId="2776914895" sldId="2147376852"/>
            <ac:picMk id="15" creationId="{5CB8A17B-8FC1-8439-A373-5030E80925D1}"/>
          </ac:picMkLst>
        </pc:picChg>
        <pc:picChg chg="add mod">
          <ac:chgData name="Clark, Connie" userId="73351e60-ad32-4085-a232-1d9f9b189479" providerId="ADAL" clId="{5F87A5E2-C2A2-4F23-BC8C-28F7F5EA6CA7}" dt="2024-04-01T03:06:26.622" v="25615" actId="1076"/>
          <ac:picMkLst>
            <pc:docMk/>
            <pc:sldMk cId="2776914895" sldId="2147376852"/>
            <ac:picMk id="17" creationId="{921FE16E-6B99-D6D4-4B84-EB7FFB7BE5A9}"/>
          </ac:picMkLst>
        </pc:picChg>
        <pc:picChg chg="add mod">
          <ac:chgData name="Clark, Connie" userId="73351e60-ad32-4085-a232-1d9f9b189479" providerId="ADAL" clId="{5F87A5E2-C2A2-4F23-BC8C-28F7F5EA6CA7}" dt="2024-04-01T03:07:12.521" v="25618" actId="1076"/>
          <ac:picMkLst>
            <pc:docMk/>
            <pc:sldMk cId="2776914895" sldId="2147376852"/>
            <ac:picMk id="19" creationId="{63DAD168-A95B-0AE1-B7E7-8D754D8EEFBF}"/>
          </ac:picMkLst>
        </pc:picChg>
        <pc:picChg chg="add mod">
          <ac:chgData name="Clark, Connie" userId="73351e60-ad32-4085-a232-1d9f9b189479" providerId="ADAL" clId="{5F87A5E2-C2A2-4F23-BC8C-28F7F5EA6CA7}" dt="2024-04-01T03:44:09.625" v="26202" actId="1076"/>
          <ac:picMkLst>
            <pc:docMk/>
            <pc:sldMk cId="2776914895" sldId="2147376852"/>
            <ac:picMk id="23" creationId="{8339A13D-E02A-BCB5-F2E6-5D679FC78A37}"/>
          </ac:picMkLst>
        </pc:picChg>
      </pc:sldChg>
      <pc:sldChg chg="modSp add mod ord">
        <pc:chgData name="Clark, Connie" userId="73351e60-ad32-4085-a232-1d9f9b189479" providerId="ADAL" clId="{5F87A5E2-C2A2-4F23-BC8C-28F7F5EA6CA7}" dt="2024-04-01T02:06:44.666" v="25240"/>
        <pc:sldMkLst>
          <pc:docMk/>
          <pc:sldMk cId="4230188201" sldId="2147376853"/>
        </pc:sldMkLst>
        <pc:spChg chg="mod">
          <ac:chgData name="Clark, Connie" userId="73351e60-ad32-4085-a232-1d9f9b189479" providerId="ADAL" clId="{5F87A5E2-C2A2-4F23-BC8C-28F7F5EA6CA7}" dt="2024-04-01T01:53:45.820" v="25055" actId="1076"/>
          <ac:spMkLst>
            <pc:docMk/>
            <pc:sldMk cId="4230188201" sldId="2147376853"/>
            <ac:spMk id="6" creationId="{76231A41-06DB-00A1-40F9-D7C7AC66E107}"/>
          </ac:spMkLst>
        </pc:spChg>
      </pc:sldChg>
      <pc:sldChg chg="delSp modSp add mod ord">
        <pc:chgData name="Clark, Connie" userId="73351e60-ad32-4085-a232-1d9f9b189479" providerId="ADAL" clId="{5F87A5E2-C2A2-4F23-BC8C-28F7F5EA6CA7}" dt="2024-04-01T03:33:16.330" v="26198"/>
        <pc:sldMkLst>
          <pc:docMk/>
          <pc:sldMk cId="1097609221" sldId="2147376854"/>
        </pc:sldMkLst>
        <pc:spChg chg="del mod">
          <ac:chgData name="Clark, Connie" userId="73351e60-ad32-4085-a232-1d9f9b189479" providerId="ADAL" clId="{5F87A5E2-C2A2-4F23-BC8C-28F7F5EA6CA7}" dt="2024-04-01T02:05:10.760" v="25234" actId="478"/>
          <ac:spMkLst>
            <pc:docMk/>
            <pc:sldMk cId="1097609221" sldId="2147376854"/>
            <ac:spMk id="4" creationId="{22A18CC0-6141-ABA9-196E-A5C58759FE9D}"/>
          </ac:spMkLst>
        </pc:spChg>
        <pc:spChg chg="mod">
          <ac:chgData name="Clark, Connie" userId="73351e60-ad32-4085-a232-1d9f9b189479" providerId="ADAL" clId="{5F87A5E2-C2A2-4F23-BC8C-28F7F5EA6CA7}" dt="2024-04-01T02:09:17.996" v="25273" actId="20577"/>
          <ac:spMkLst>
            <pc:docMk/>
            <pc:sldMk cId="1097609221" sldId="2147376854"/>
            <ac:spMk id="27" creationId="{068901DC-D7B3-16C0-086D-1DE3FBF5E470}"/>
          </ac:spMkLst>
        </pc:spChg>
        <pc:spChg chg="mod">
          <ac:chgData name="Clark, Connie" userId="73351e60-ad32-4085-a232-1d9f9b189479" providerId="ADAL" clId="{5F87A5E2-C2A2-4F23-BC8C-28F7F5EA6CA7}" dt="2024-04-01T02:06:01.410" v="25238" actId="2711"/>
          <ac:spMkLst>
            <pc:docMk/>
            <pc:sldMk cId="1097609221" sldId="2147376854"/>
            <ac:spMk id="28" creationId="{1F8DDD3D-F18B-23CB-BD17-0E093682ED6F}"/>
          </ac:spMkLst>
        </pc:spChg>
        <pc:spChg chg="mod">
          <ac:chgData name="Clark, Connie" userId="73351e60-ad32-4085-a232-1d9f9b189479" providerId="ADAL" clId="{5F87A5E2-C2A2-4F23-BC8C-28F7F5EA6CA7}" dt="2024-04-01T02:00:02.208" v="25124" actId="1076"/>
          <ac:spMkLst>
            <pc:docMk/>
            <pc:sldMk cId="1097609221" sldId="2147376854"/>
            <ac:spMk id="29" creationId="{3D74617B-7644-E60E-4355-DFCC8B099C23}"/>
          </ac:spMkLst>
        </pc:spChg>
        <pc:graphicFrameChg chg="mod modGraphic">
          <ac:chgData name="Clark, Connie" userId="73351e60-ad32-4085-a232-1d9f9b189479" providerId="ADAL" clId="{5F87A5E2-C2A2-4F23-BC8C-28F7F5EA6CA7}" dt="2024-04-01T02:08:17.220" v="25250" actId="113"/>
          <ac:graphicFrameMkLst>
            <pc:docMk/>
            <pc:sldMk cId="1097609221" sldId="2147376854"/>
            <ac:graphicFrameMk id="14" creationId="{984AA7F3-33F8-BBC2-9C32-E0220F1044DC}"/>
          </ac:graphicFrameMkLst>
        </pc:graphicFrameChg>
      </pc:sldChg>
      <pc:sldChg chg="modSp add mod">
        <pc:chgData name="Clark, Connie" userId="73351e60-ad32-4085-a232-1d9f9b189479" providerId="ADAL" clId="{5F87A5E2-C2A2-4F23-BC8C-28F7F5EA6CA7}" dt="2024-04-01T02:07:17.409" v="25248" actId="20577"/>
        <pc:sldMkLst>
          <pc:docMk/>
          <pc:sldMk cId="654959059" sldId="2147376855"/>
        </pc:sldMkLst>
        <pc:spChg chg="mod">
          <ac:chgData name="Clark, Connie" userId="73351e60-ad32-4085-a232-1d9f9b189479" providerId="ADAL" clId="{5F87A5E2-C2A2-4F23-BC8C-28F7F5EA6CA7}" dt="2024-04-01T02:07:17.409" v="25248" actId="20577"/>
          <ac:spMkLst>
            <pc:docMk/>
            <pc:sldMk cId="654959059" sldId="2147376855"/>
            <ac:spMk id="2" creationId="{C3BBFE52-03B4-994D-A1EB-ED46363399E3}"/>
          </ac:spMkLst>
        </pc:spChg>
      </pc:sldChg>
      <pc:sldChg chg="addSp delSp modSp add mod">
        <pc:chgData name="Clark, Connie" userId="73351e60-ad32-4085-a232-1d9f9b189479" providerId="ADAL" clId="{5F87A5E2-C2A2-4F23-BC8C-28F7F5EA6CA7}" dt="2024-04-01T02:51:17.027" v="25492" actId="1076"/>
        <pc:sldMkLst>
          <pc:docMk/>
          <pc:sldMk cId="340950998" sldId="2147376856"/>
        </pc:sldMkLst>
        <pc:spChg chg="del">
          <ac:chgData name="Clark, Connie" userId="73351e60-ad32-4085-a232-1d9f9b189479" providerId="ADAL" clId="{5F87A5E2-C2A2-4F23-BC8C-28F7F5EA6CA7}" dt="2024-04-01T02:37:30.922" v="25311" actId="478"/>
          <ac:spMkLst>
            <pc:docMk/>
            <pc:sldMk cId="340950998" sldId="2147376856"/>
            <ac:spMk id="3" creationId="{2F2D8F90-5626-85F5-D44D-9B050DAA83BF}"/>
          </ac:spMkLst>
        </pc:spChg>
        <pc:spChg chg="add mod">
          <ac:chgData name="Clark, Connie" userId="73351e60-ad32-4085-a232-1d9f9b189479" providerId="ADAL" clId="{5F87A5E2-C2A2-4F23-BC8C-28F7F5EA6CA7}" dt="2024-04-01T02:47:59.287" v="25448" actId="20577"/>
          <ac:spMkLst>
            <pc:docMk/>
            <pc:sldMk cId="340950998" sldId="2147376856"/>
            <ac:spMk id="4" creationId="{FF1857AE-4590-8407-F523-7AC21B41030B}"/>
          </ac:spMkLst>
        </pc:spChg>
        <pc:spChg chg="del">
          <ac:chgData name="Clark, Connie" userId="73351e60-ad32-4085-a232-1d9f9b189479" providerId="ADAL" clId="{5F87A5E2-C2A2-4F23-BC8C-28F7F5EA6CA7}" dt="2024-04-01T02:37:28.967" v="25310" actId="478"/>
          <ac:spMkLst>
            <pc:docMk/>
            <pc:sldMk cId="340950998" sldId="2147376856"/>
            <ac:spMk id="12" creationId="{E973EFAA-DA16-D1D2-D0EC-6C2D03FFF4AF}"/>
          </ac:spMkLst>
        </pc:spChg>
        <pc:spChg chg="mod">
          <ac:chgData name="Clark, Connie" userId="73351e60-ad32-4085-a232-1d9f9b189479" providerId="ADAL" clId="{5F87A5E2-C2A2-4F23-BC8C-28F7F5EA6CA7}" dt="2024-04-01T02:49:08.083" v="25486" actId="20577"/>
          <ac:spMkLst>
            <pc:docMk/>
            <pc:sldMk cId="340950998" sldId="2147376856"/>
            <ac:spMk id="17" creationId="{104490DB-C221-B262-FBC2-E5122C270BE9}"/>
          </ac:spMkLst>
        </pc:spChg>
        <pc:picChg chg="del">
          <ac:chgData name="Clark, Connie" userId="73351e60-ad32-4085-a232-1d9f9b189479" providerId="ADAL" clId="{5F87A5E2-C2A2-4F23-BC8C-28F7F5EA6CA7}" dt="2024-04-01T02:37:27.010" v="25309" actId="478"/>
          <ac:picMkLst>
            <pc:docMk/>
            <pc:sldMk cId="340950998" sldId="2147376856"/>
            <ac:picMk id="5" creationId="{C3BC075A-C806-B9D2-E3A3-759F103D037F}"/>
          </ac:picMkLst>
        </pc:picChg>
        <pc:picChg chg="add mod">
          <ac:chgData name="Clark, Connie" userId="73351e60-ad32-4085-a232-1d9f9b189479" providerId="ADAL" clId="{5F87A5E2-C2A2-4F23-BC8C-28F7F5EA6CA7}" dt="2024-04-01T02:50:59.268" v="25489" actId="1076"/>
          <ac:picMkLst>
            <pc:docMk/>
            <pc:sldMk cId="340950998" sldId="2147376856"/>
            <ac:picMk id="7" creationId="{ECC6EF28-D941-8376-2B24-F6EF16E7732C}"/>
          </ac:picMkLst>
        </pc:picChg>
        <pc:picChg chg="add mod">
          <ac:chgData name="Clark, Connie" userId="73351e60-ad32-4085-a232-1d9f9b189479" providerId="ADAL" clId="{5F87A5E2-C2A2-4F23-BC8C-28F7F5EA6CA7}" dt="2024-04-01T02:51:17.027" v="25492" actId="1076"/>
          <ac:picMkLst>
            <pc:docMk/>
            <pc:sldMk cId="340950998" sldId="2147376856"/>
            <ac:picMk id="9" creationId="{938E70FA-01CE-BFE9-EB12-3C0A54C25EC8}"/>
          </ac:picMkLst>
        </pc:picChg>
        <pc:picChg chg="del">
          <ac:chgData name="Clark, Connie" userId="73351e60-ad32-4085-a232-1d9f9b189479" providerId="ADAL" clId="{5F87A5E2-C2A2-4F23-BC8C-28F7F5EA6CA7}" dt="2024-04-01T02:37:33.491" v="25312" actId="478"/>
          <ac:picMkLst>
            <pc:docMk/>
            <pc:sldMk cId="340950998" sldId="2147376856"/>
            <ac:picMk id="15" creationId="{97DADCB1-8AF7-4BF4-9667-238BF2B037AC}"/>
          </ac:picMkLst>
        </pc:picChg>
      </pc:sldChg>
      <pc:sldChg chg="addSp delSp modSp add mod">
        <pc:chgData name="Clark, Connie" userId="73351e60-ad32-4085-a232-1d9f9b189479" providerId="ADAL" clId="{5F87A5E2-C2A2-4F23-BC8C-28F7F5EA6CA7}" dt="2024-04-01T03:49:53.458" v="26339" actId="1037"/>
        <pc:sldMkLst>
          <pc:docMk/>
          <pc:sldMk cId="1897307114" sldId="2147376857"/>
        </pc:sldMkLst>
        <pc:spChg chg="mod">
          <ac:chgData name="Clark, Connie" userId="73351e60-ad32-4085-a232-1d9f9b189479" providerId="ADAL" clId="{5F87A5E2-C2A2-4F23-BC8C-28F7F5EA6CA7}" dt="2024-04-01T02:52:40.505" v="25507" actId="1076"/>
          <ac:spMkLst>
            <pc:docMk/>
            <pc:sldMk cId="1897307114" sldId="2147376857"/>
            <ac:spMk id="3" creationId="{2F2D8F90-5626-85F5-D44D-9B050DAA83BF}"/>
          </ac:spMkLst>
        </pc:spChg>
        <pc:spChg chg="add mod">
          <ac:chgData name="Clark, Connie" userId="73351e60-ad32-4085-a232-1d9f9b189479" providerId="ADAL" clId="{5F87A5E2-C2A2-4F23-BC8C-28F7F5EA6CA7}" dt="2024-04-01T03:49:38.802" v="26330" actId="14100"/>
          <ac:spMkLst>
            <pc:docMk/>
            <pc:sldMk cId="1897307114" sldId="2147376857"/>
            <ac:spMk id="9" creationId="{1B680334-E266-A8E1-1023-96FBC4FA6A58}"/>
          </ac:spMkLst>
        </pc:spChg>
        <pc:spChg chg="add del mod">
          <ac:chgData name="Clark, Connie" userId="73351e60-ad32-4085-a232-1d9f9b189479" providerId="ADAL" clId="{5F87A5E2-C2A2-4F23-BC8C-28F7F5EA6CA7}" dt="2024-04-01T03:21:03.233" v="25844" actId="478"/>
          <ac:spMkLst>
            <pc:docMk/>
            <pc:sldMk cId="1897307114" sldId="2147376857"/>
            <ac:spMk id="10" creationId="{0BE27A5D-BD40-2C09-3742-BEE106291C43}"/>
          </ac:spMkLst>
        </pc:spChg>
        <pc:spChg chg="add mod">
          <ac:chgData name="Clark, Connie" userId="73351e60-ad32-4085-a232-1d9f9b189479" providerId="ADAL" clId="{5F87A5E2-C2A2-4F23-BC8C-28F7F5EA6CA7}" dt="2024-04-01T03:49:53.458" v="26339" actId="1037"/>
          <ac:spMkLst>
            <pc:docMk/>
            <pc:sldMk cId="1897307114" sldId="2147376857"/>
            <ac:spMk id="11" creationId="{1C9E6A78-0401-FE26-0840-D9109C9A4469}"/>
          </ac:spMkLst>
        </pc:spChg>
        <pc:spChg chg="del">
          <ac:chgData name="Clark, Connie" userId="73351e60-ad32-4085-a232-1d9f9b189479" providerId="ADAL" clId="{5F87A5E2-C2A2-4F23-BC8C-28F7F5EA6CA7}" dt="2024-04-01T02:52:21.937" v="25495" actId="478"/>
          <ac:spMkLst>
            <pc:docMk/>
            <pc:sldMk cId="1897307114" sldId="2147376857"/>
            <ac:spMk id="12" creationId="{E973EFAA-DA16-D1D2-D0EC-6C2D03FFF4AF}"/>
          </ac:spMkLst>
        </pc:spChg>
        <pc:spChg chg="add mod">
          <ac:chgData name="Clark, Connie" userId="73351e60-ad32-4085-a232-1d9f9b189479" providerId="ADAL" clId="{5F87A5E2-C2A2-4F23-BC8C-28F7F5EA6CA7}" dt="2024-04-01T03:27:47.352" v="26142" actId="1076"/>
          <ac:spMkLst>
            <pc:docMk/>
            <pc:sldMk cId="1897307114" sldId="2147376857"/>
            <ac:spMk id="13" creationId="{1B891B18-6585-DA27-8E6D-756BCF67D89F}"/>
          </ac:spMkLst>
        </pc:spChg>
        <pc:picChg chg="del">
          <ac:chgData name="Clark, Connie" userId="73351e60-ad32-4085-a232-1d9f9b189479" providerId="ADAL" clId="{5F87A5E2-C2A2-4F23-BC8C-28F7F5EA6CA7}" dt="2024-04-01T02:52:21.937" v="25495" actId="478"/>
          <ac:picMkLst>
            <pc:docMk/>
            <pc:sldMk cId="1897307114" sldId="2147376857"/>
            <ac:picMk id="5" creationId="{C3BC075A-C806-B9D2-E3A3-759F103D037F}"/>
          </ac:picMkLst>
        </pc:picChg>
        <pc:picChg chg="add del mod">
          <ac:chgData name="Clark, Connie" userId="73351e60-ad32-4085-a232-1d9f9b189479" providerId="ADAL" clId="{5F87A5E2-C2A2-4F23-BC8C-28F7F5EA6CA7}" dt="2024-04-01T02:54:31.446" v="25510" actId="478"/>
          <ac:picMkLst>
            <pc:docMk/>
            <pc:sldMk cId="1897307114" sldId="2147376857"/>
            <ac:picMk id="6" creationId="{1AC1942F-0BA3-5CFF-53F3-B5C8AEF13D73}"/>
          </ac:picMkLst>
        </pc:picChg>
        <pc:picChg chg="add mod">
          <ac:chgData name="Clark, Connie" userId="73351e60-ad32-4085-a232-1d9f9b189479" providerId="ADAL" clId="{5F87A5E2-C2A2-4F23-BC8C-28F7F5EA6CA7}" dt="2024-04-01T02:54:58.893" v="25515" actId="14100"/>
          <ac:picMkLst>
            <pc:docMk/>
            <pc:sldMk cId="1897307114" sldId="2147376857"/>
            <ac:picMk id="8" creationId="{DDA7EA1A-C9BC-B629-B4A7-37B385321F29}"/>
          </ac:picMkLst>
        </pc:picChg>
        <pc:picChg chg="add mod">
          <ac:chgData name="Clark, Connie" userId="73351e60-ad32-4085-a232-1d9f9b189479" providerId="ADAL" clId="{5F87A5E2-C2A2-4F23-BC8C-28F7F5EA6CA7}" dt="2024-04-01T03:30:44.207" v="26157" actId="1076"/>
          <ac:picMkLst>
            <pc:docMk/>
            <pc:sldMk cId="1897307114" sldId="2147376857"/>
            <ac:picMk id="14" creationId="{156D3CB6-8BAF-53B3-AB93-2882A326EBA9}"/>
          </ac:picMkLst>
        </pc:picChg>
        <pc:picChg chg="del">
          <ac:chgData name="Clark, Connie" userId="73351e60-ad32-4085-a232-1d9f9b189479" providerId="ADAL" clId="{5F87A5E2-C2A2-4F23-BC8C-28F7F5EA6CA7}" dt="2024-04-01T02:52:23.090" v="25496" actId="478"/>
          <ac:picMkLst>
            <pc:docMk/>
            <pc:sldMk cId="1897307114" sldId="2147376857"/>
            <ac:picMk id="15" creationId="{97DADCB1-8AF7-4BF4-9667-238BF2B037AC}"/>
          </ac:picMkLst>
        </pc:picChg>
        <pc:picChg chg="add mod">
          <ac:chgData name="Clark, Connie" userId="73351e60-ad32-4085-a232-1d9f9b189479" providerId="ADAL" clId="{5F87A5E2-C2A2-4F23-BC8C-28F7F5EA6CA7}" dt="2024-04-01T03:33:04.756" v="26196" actId="14100"/>
          <ac:picMkLst>
            <pc:docMk/>
            <pc:sldMk cId="1897307114" sldId="2147376857"/>
            <ac:picMk id="16" creationId="{62461353-15D9-3F83-A8A3-28F28E59C6BA}"/>
          </ac:picMkLst>
        </pc:picChg>
      </pc:sldChg>
      <pc:sldChg chg="delSp modSp add mod">
        <pc:chgData name="Clark, Connie" userId="73351e60-ad32-4085-a232-1d9f9b189479" providerId="ADAL" clId="{5F87A5E2-C2A2-4F23-BC8C-28F7F5EA6CA7}" dt="2024-04-01T03:04:42.636" v="25608" actId="1076"/>
        <pc:sldMkLst>
          <pc:docMk/>
          <pc:sldMk cId="1333608199" sldId="2147376858"/>
        </pc:sldMkLst>
        <pc:spChg chg="mod">
          <ac:chgData name="Clark, Connie" userId="73351e60-ad32-4085-a232-1d9f9b189479" providerId="ADAL" clId="{5F87A5E2-C2A2-4F23-BC8C-28F7F5EA6CA7}" dt="2024-04-01T03:04:29.092" v="25605" actId="20577"/>
          <ac:spMkLst>
            <pc:docMk/>
            <pc:sldMk cId="1333608199" sldId="2147376858"/>
            <ac:spMk id="13" creationId="{2B7DCA6E-9B75-24C8-EE74-01D3758A34B2}"/>
          </ac:spMkLst>
        </pc:spChg>
        <pc:picChg chg="mod">
          <ac:chgData name="Clark, Connie" userId="73351e60-ad32-4085-a232-1d9f9b189479" providerId="ADAL" clId="{5F87A5E2-C2A2-4F23-BC8C-28F7F5EA6CA7}" dt="2024-04-01T03:04:42.636" v="25608" actId="1076"/>
          <ac:picMkLst>
            <pc:docMk/>
            <pc:sldMk cId="1333608199" sldId="2147376858"/>
            <ac:picMk id="10" creationId="{89AE37C7-EA63-05C3-9ADD-95E83947D7C6}"/>
          </ac:picMkLst>
        </pc:picChg>
        <pc:picChg chg="del mod">
          <ac:chgData name="Clark, Connie" userId="73351e60-ad32-4085-a232-1d9f9b189479" providerId="ADAL" clId="{5F87A5E2-C2A2-4F23-BC8C-28F7F5EA6CA7}" dt="2024-04-01T03:04:36.987" v="25607" actId="478"/>
          <ac:picMkLst>
            <pc:docMk/>
            <pc:sldMk cId="1333608199" sldId="2147376858"/>
            <ac:picMk id="15" creationId="{5CB8A17B-8FC1-8439-A373-5030E80925D1}"/>
          </ac:picMkLst>
        </pc:picChg>
      </pc:sldChg>
      <pc:sldChg chg="addSp delSp modSp add mod">
        <pc:chgData name="Clark, Connie" userId="73351e60-ad32-4085-a232-1d9f9b189479" providerId="ADAL" clId="{5F87A5E2-C2A2-4F23-BC8C-28F7F5EA6CA7}" dt="2024-04-01T03:09:23.529" v="25638" actId="20577"/>
        <pc:sldMkLst>
          <pc:docMk/>
          <pc:sldMk cId="2163026948" sldId="2147376859"/>
        </pc:sldMkLst>
        <pc:spChg chg="add mod">
          <ac:chgData name="Clark, Connie" userId="73351e60-ad32-4085-a232-1d9f9b189479" providerId="ADAL" clId="{5F87A5E2-C2A2-4F23-BC8C-28F7F5EA6CA7}" dt="2024-04-01T03:09:17.757" v="25633" actId="20577"/>
          <ac:spMkLst>
            <pc:docMk/>
            <pc:sldMk cId="2163026948" sldId="2147376859"/>
            <ac:spMk id="5" creationId="{351BED6E-2B40-2D2B-7BB3-CCC3EB6DFFC6}"/>
          </ac:spMkLst>
        </pc:spChg>
        <pc:spChg chg="del">
          <ac:chgData name="Clark, Connie" userId="73351e60-ad32-4085-a232-1d9f9b189479" providerId="ADAL" clId="{5F87A5E2-C2A2-4F23-BC8C-28F7F5EA6CA7}" dt="2024-04-01T03:08:35.755" v="25624" actId="478"/>
          <ac:spMkLst>
            <pc:docMk/>
            <pc:sldMk cId="2163026948" sldId="2147376859"/>
            <ac:spMk id="13" creationId="{2B7DCA6E-9B75-24C8-EE74-01D3758A34B2}"/>
          </ac:spMkLst>
        </pc:spChg>
        <pc:spChg chg="mod">
          <ac:chgData name="Clark, Connie" userId="73351e60-ad32-4085-a232-1d9f9b189479" providerId="ADAL" clId="{5F87A5E2-C2A2-4F23-BC8C-28F7F5EA6CA7}" dt="2024-04-01T03:09:23.529" v="25638" actId="20577"/>
          <ac:spMkLst>
            <pc:docMk/>
            <pc:sldMk cId="2163026948" sldId="2147376859"/>
            <ac:spMk id="21" creationId="{8CAA455C-5433-0895-E9A9-B646DBC9DE74}"/>
          </ac:spMkLst>
        </pc:spChg>
        <pc:picChg chg="del">
          <ac:chgData name="Clark, Connie" userId="73351e60-ad32-4085-a232-1d9f9b189479" providerId="ADAL" clId="{5F87A5E2-C2A2-4F23-BC8C-28F7F5EA6CA7}" dt="2024-04-01T03:08:28.198" v="25622" actId="478"/>
          <ac:picMkLst>
            <pc:docMk/>
            <pc:sldMk cId="2163026948" sldId="2147376859"/>
            <ac:picMk id="15" creationId="{5CB8A17B-8FC1-8439-A373-5030E80925D1}"/>
          </ac:picMkLst>
        </pc:picChg>
        <pc:picChg chg="mod">
          <ac:chgData name="Clark, Connie" userId="73351e60-ad32-4085-a232-1d9f9b189479" providerId="ADAL" clId="{5F87A5E2-C2A2-4F23-BC8C-28F7F5EA6CA7}" dt="2024-04-01T03:08:44.858" v="25626" actId="1076"/>
          <ac:picMkLst>
            <pc:docMk/>
            <pc:sldMk cId="2163026948" sldId="2147376859"/>
            <ac:picMk id="17" creationId="{921FE16E-6B99-D6D4-4B84-EB7FFB7BE5A9}"/>
          </ac:picMkLst>
        </pc:picChg>
        <pc:picChg chg="mod">
          <ac:chgData name="Clark, Connie" userId="73351e60-ad32-4085-a232-1d9f9b189479" providerId="ADAL" clId="{5F87A5E2-C2A2-4F23-BC8C-28F7F5EA6CA7}" dt="2024-04-01T03:08:40.885" v="25625" actId="1076"/>
          <ac:picMkLst>
            <pc:docMk/>
            <pc:sldMk cId="2163026948" sldId="2147376859"/>
            <ac:picMk id="19" creationId="{63DAD168-A95B-0AE1-B7E7-8D754D8EEFBF}"/>
          </ac:picMkLst>
        </pc:picChg>
      </pc:sldChg>
      <pc:sldChg chg="addSp delSp modSp add mod">
        <pc:chgData name="Clark, Connie" userId="73351e60-ad32-4085-a232-1d9f9b189479" providerId="ADAL" clId="{5F87A5E2-C2A2-4F23-BC8C-28F7F5EA6CA7}" dt="2024-04-01T03:14:42.903" v="25665" actId="1076"/>
        <pc:sldMkLst>
          <pc:docMk/>
          <pc:sldMk cId="734141453" sldId="2147376860"/>
        </pc:sldMkLst>
        <pc:spChg chg="mod">
          <ac:chgData name="Clark, Connie" userId="73351e60-ad32-4085-a232-1d9f9b189479" providerId="ADAL" clId="{5F87A5E2-C2A2-4F23-BC8C-28F7F5EA6CA7}" dt="2024-04-01T03:10:15.242" v="25648" actId="20577"/>
          <ac:spMkLst>
            <pc:docMk/>
            <pc:sldMk cId="734141453" sldId="2147376860"/>
            <ac:spMk id="5" creationId="{351BED6E-2B40-2D2B-7BB3-CCC3EB6DFFC6}"/>
          </ac:spMkLst>
        </pc:spChg>
        <pc:spChg chg="mod">
          <ac:chgData name="Clark, Connie" userId="73351e60-ad32-4085-a232-1d9f9b189479" providerId="ADAL" clId="{5F87A5E2-C2A2-4F23-BC8C-28F7F5EA6CA7}" dt="2024-04-01T03:11:38.857" v="25657" actId="20577"/>
          <ac:spMkLst>
            <pc:docMk/>
            <pc:sldMk cId="734141453" sldId="2147376860"/>
            <ac:spMk id="21" creationId="{8CAA455C-5433-0895-E9A9-B646DBC9DE74}"/>
          </ac:spMkLst>
        </pc:spChg>
        <pc:picChg chg="add mod">
          <ac:chgData name="Clark, Connie" userId="73351e60-ad32-4085-a232-1d9f9b189479" providerId="ADAL" clId="{5F87A5E2-C2A2-4F23-BC8C-28F7F5EA6CA7}" dt="2024-04-01T03:14:30.326" v="25661" actId="1076"/>
          <ac:picMkLst>
            <pc:docMk/>
            <pc:sldMk cId="734141453" sldId="2147376860"/>
            <ac:picMk id="6" creationId="{4F69284F-32F5-0020-B65C-B385B17A41DF}"/>
          </ac:picMkLst>
        </pc:picChg>
        <pc:picChg chg="add mod">
          <ac:chgData name="Clark, Connie" userId="73351e60-ad32-4085-a232-1d9f9b189479" providerId="ADAL" clId="{5F87A5E2-C2A2-4F23-BC8C-28F7F5EA6CA7}" dt="2024-04-01T03:14:32.483" v="25662" actId="1076"/>
          <ac:picMkLst>
            <pc:docMk/>
            <pc:sldMk cId="734141453" sldId="2147376860"/>
            <ac:picMk id="8" creationId="{58EB52BC-3780-8C84-2469-D797E3256B05}"/>
          </ac:picMkLst>
        </pc:picChg>
        <pc:picChg chg="add mod">
          <ac:chgData name="Clark, Connie" userId="73351e60-ad32-4085-a232-1d9f9b189479" providerId="ADAL" clId="{5F87A5E2-C2A2-4F23-BC8C-28F7F5EA6CA7}" dt="2024-04-01T03:14:42.903" v="25665" actId="1076"/>
          <ac:picMkLst>
            <pc:docMk/>
            <pc:sldMk cId="734141453" sldId="2147376860"/>
            <ac:picMk id="10" creationId="{516FBFAF-635C-384C-2839-79D1DA6BBE59}"/>
          </ac:picMkLst>
        </pc:picChg>
        <pc:picChg chg="del">
          <ac:chgData name="Clark, Connie" userId="73351e60-ad32-4085-a232-1d9f9b189479" providerId="ADAL" clId="{5F87A5E2-C2A2-4F23-BC8C-28F7F5EA6CA7}" dt="2024-04-01T03:09:40.020" v="25640" actId="478"/>
          <ac:picMkLst>
            <pc:docMk/>
            <pc:sldMk cId="734141453" sldId="2147376860"/>
            <ac:picMk id="17" creationId="{921FE16E-6B99-D6D4-4B84-EB7FFB7BE5A9}"/>
          </ac:picMkLst>
        </pc:picChg>
        <pc:picChg chg="del">
          <ac:chgData name="Clark, Connie" userId="73351e60-ad32-4085-a232-1d9f9b189479" providerId="ADAL" clId="{5F87A5E2-C2A2-4F23-BC8C-28F7F5EA6CA7}" dt="2024-04-01T03:09:40.894" v="25641" actId="478"/>
          <ac:picMkLst>
            <pc:docMk/>
            <pc:sldMk cId="734141453" sldId="2147376860"/>
            <ac:picMk id="19" creationId="{63DAD168-A95B-0AE1-B7E7-8D754D8EEFBF}"/>
          </ac:picMkLst>
        </pc:picChg>
      </pc:sldChg>
      <pc:sldChg chg="add del">
        <pc:chgData name="Clark, Connie" userId="73351e60-ad32-4085-a232-1d9f9b189479" providerId="ADAL" clId="{5F87A5E2-C2A2-4F23-BC8C-28F7F5EA6CA7}" dt="2024-05-24T00:09:13.161" v="31035" actId="2696"/>
        <pc:sldMkLst>
          <pc:docMk/>
          <pc:sldMk cId="3595489750" sldId="2147376861"/>
        </pc:sldMkLst>
      </pc:sldChg>
      <pc:sldChg chg="addSp delSp modSp add del mod">
        <pc:chgData name="Clark, Connie" userId="73351e60-ad32-4085-a232-1d9f9b189479" providerId="ADAL" clId="{5F87A5E2-C2A2-4F23-BC8C-28F7F5EA6CA7}" dt="2024-05-24T00:09:13.161" v="31035" actId="2696"/>
        <pc:sldMkLst>
          <pc:docMk/>
          <pc:sldMk cId="1741100815" sldId="2147376862"/>
        </pc:sldMkLst>
        <pc:spChg chg="add mod">
          <ac:chgData name="Clark, Connie" userId="73351e60-ad32-4085-a232-1d9f9b189479" providerId="ADAL" clId="{5F87A5E2-C2A2-4F23-BC8C-28F7F5EA6CA7}" dt="2024-04-02T18:33:10.881" v="27225" actId="20577"/>
          <ac:spMkLst>
            <pc:docMk/>
            <pc:sldMk cId="1741100815" sldId="2147376862"/>
            <ac:spMk id="3" creationId="{E7CE4C2A-0A1A-4BD1-BCA3-7F3DCAEFA007}"/>
          </ac:spMkLst>
        </pc:spChg>
        <pc:spChg chg="add mod">
          <ac:chgData name="Clark, Connie" userId="73351e60-ad32-4085-a232-1d9f9b189479" providerId="ADAL" clId="{5F87A5E2-C2A2-4F23-BC8C-28F7F5EA6CA7}" dt="2024-04-02T18:33:34.588" v="27243" actId="20577"/>
          <ac:spMkLst>
            <pc:docMk/>
            <pc:sldMk cId="1741100815" sldId="2147376862"/>
            <ac:spMk id="4" creationId="{EB73946C-7EF7-AC9B-15DC-7BFC012CCE86}"/>
          </ac:spMkLst>
        </pc:spChg>
        <pc:spChg chg="mod">
          <ac:chgData name="Clark, Connie" userId="73351e60-ad32-4085-a232-1d9f9b189479" providerId="ADAL" clId="{5F87A5E2-C2A2-4F23-BC8C-28F7F5EA6CA7}" dt="2024-04-02T18:30:41.764" v="27155" actId="1076"/>
          <ac:spMkLst>
            <pc:docMk/>
            <pc:sldMk cId="1741100815" sldId="2147376862"/>
            <ac:spMk id="8" creationId="{6D3FA199-8828-B47C-8645-4C096C8B6F2A}"/>
          </ac:spMkLst>
        </pc:spChg>
        <pc:spChg chg="add mod">
          <ac:chgData name="Clark, Connie" userId="73351e60-ad32-4085-a232-1d9f9b189479" providerId="ADAL" clId="{5F87A5E2-C2A2-4F23-BC8C-28F7F5EA6CA7}" dt="2024-04-02T18:38:01.460" v="27308" actId="20577"/>
          <ac:spMkLst>
            <pc:docMk/>
            <pc:sldMk cId="1741100815" sldId="2147376862"/>
            <ac:spMk id="9" creationId="{1D423B52-4C2E-A635-1D2F-883DDD22ECE7}"/>
          </ac:spMkLst>
        </pc:spChg>
        <pc:spChg chg="add mod">
          <ac:chgData name="Clark, Connie" userId="73351e60-ad32-4085-a232-1d9f9b189479" providerId="ADAL" clId="{5F87A5E2-C2A2-4F23-BC8C-28F7F5EA6CA7}" dt="2024-04-02T18:42:00.880" v="27547" actId="20577"/>
          <ac:spMkLst>
            <pc:docMk/>
            <pc:sldMk cId="1741100815" sldId="2147376862"/>
            <ac:spMk id="10" creationId="{6C5DA5E3-8123-2BAA-B28A-677D35C8A11C}"/>
          </ac:spMkLst>
        </pc:spChg>
        <pc:spChg chg="add mod">
          <ac:chgData name="Clark, Connie" userId="73351e60-ad32-4085-a232-1d9f9b189479" providerId="ADAL" clId="{5F87A5E2-C2A2-4F23-BC8C-28F7F5EA6CA7}" dt="2024-04-02T18:40:08.511" v="27423" actId="20577"/>
          <ac:spMkLst>
            <pc:docMk/>
            <pc:sldMk cId="1741100815" sldId="2147376862"/>
            <ac:spMk id="11" creationId="{16FA0899-C7CA-D693-0BB5-F975EBC2ADE0}"/>
          </ac:spMkLst>
        </pc:spChg>
        <pc:spChg chg="add mod">
          <ac:chgData name="Clark, Connie" userId="73351e60-ad32-4085-a232-1d9f9b189479" providerId="ADAL" clId="{5F87A5E2-C2A2-4F23-BC8C-28F7F5EA6CA7}" dt="2024-04-02T18:39:25.563" v="27390" actId="20577"/>
          <ac:spMkLst>
            <pc:docMk/>
            <pc:sldMk cId="1741100815" sldId="2147376862"/>
            <ac:spMk id="12" creationId="{7F4F32AB-3B40-EFC7-E541-4E6DF31020CE}"/>
          </ac:spMkLst>
        </pc:spChg>
        <pc:spChg chg="del">
          <ac:chgData name="Clark, Connie" userId="73351e60-ad32-4085-a232-1d9f9b189479" providerId="ADAL" clId="{5F87A5E2-C2A2-4F23-BC8C-28F7F5EA6CA7}" dt="2024-04-02T18:29:40.624" v="27148" actId="478"/>
          <ac:spMkLst>
            <pc:docMk/>
            <pc:sldMk cId="1741100815" sldId="2147376862"/>
            <ac:spMk id="13" creationId="{A9D73DFA-9E11-88EA-6A88-6E9AFBA7D6A7}"/>
          </ac:spMkLst>
        </pc:spChg>
        <pc:spChg chg="del">
          <ac:chgData name="Clark, Connie" userId="73351e60-ad32-4085-a232-1d9f9b189479" providerId="ADAL" clId="{5F87A5E2-C2A2-4F23-BC8C-28F7F5EA6CA7}" dt="2024-04-02T18:29:40.624" v="27148" actId="478"/>
          <ac:spMkLst>
            <pc:docMk/>
            <pc:sldMk cId="1741100815" sldId="2147376862"/>
            <ac:spMk id="14" creationId="{A3B3190F-9A64-B503-CDEC-F7B2BE953EB9}"/>
          </ac:spMkLst>
        </pc:spChg>
        <pc:spChg chg="del">
          <ac:chgData name="Clark, Connie" userId="73351e60-ad32-4085-a232-1d9f9b189479" providerId="ADAL" clId="{5F87A5E2-C2A2-4F23-BC8C-28F7F5EA6CA7}" dt="2024-04-02T18:29:40.624" v="27148" actId="478"/>
          <ac:spMkLst>
            <pc:docMk/>
            <pc:sldMk cId="1741100815" sldId="2147376862"/>
            <ac:spMk id="15" creationId="{7A6E3E9F-C1BA-82DF-8EC7-72D525BDB8A2}"/>
          </ac:spMkLst>
        </pc:spChg>
        <pc:spChg chg="del">
          <ac:chgData name="Clark, Connie" userId="73351e60-ad32-4085-a232-1d9f9b189479" providerId="ADAL" clId="{5F87A5E2-C2A2-4F23-BC8C-28F7F5EA6CA7}" dt="2024-04-02T18:29:40.624" v="27148" actId="478"/>
          <ac:spMkLst>
            <pc:docMk/>
            <pc:sldMk cId="1741100815" sldId="2147376862"/>
            <ac:spMk id="16" creationId="{A4D21ED5-E00E-AA3C-FC40-7F2352EFD271}"/>
          </ac:spMkLst>
        </pc:spChg>
        <pc:spChg chg="del">
          <ac:chgData name="Clark, Connie" userId="73351e60-ad32-4085-a232-1d9f9b189479" providerId="ADAL" clId="{5F87A5E2-C2A2-4F23-BC8C-28F7F5EA6CA7}" dt="2024-04-02T18:29:40.624" v="27148" actId="478"/>
          <ac:spMkLst>
            <pc:docMk/>
            <pc:sldMk cId="1741100815" sldId="2147376862"/>
            <ac:spMk id="17" creationId="{BD0FFEEB-E84E-CF26-FEDE-8815ED8CF0C8}"/>
          </ac:spMkLst>
        </pc:spChg>
        <pc:spChg chg="add mod">
          <ac:chgData name="Clark, Connie" userId="73351e60-ad32-4085-a232-1d9f9b189479" providerId="ADAL" clId="{5F87A5E2-C2A2-4F23-BC8C-28F7F5EA6CA7}" dt="2024-04-02T18:35:32.233" v="27279" actId="14100"/>
          <ac:spMkLst>
            <pc:docMk/>
            <pc:sldMk cId="1741100815" sldId="2147376862"/>
            <ac:spMk id="18" creationId="{0D227057-5A01-44C7-AAAE-CF64057203AC}"/>
          </ac:spMkLst>
        </pc:spChg>
        <pc:spChg chg="add del mod">
          <ac:chgData name="Clark, Connie" userId="73351e60-ad32-4085-a232-1d9f9b189479" providerId="ADAL" clId="{5F87A5E2-C2A2-4F23-BC8C-28F7F5EA6CA7}" dt="2024-04-02T18:37:07.779" v="27287" actId="478"/>
          <ac:spMkLst>
            <pc:docMk/>
            <pc:sldMk cId="1741100815" sldId="2147376862"/>
            <ac:spMk id="19" creationId="{898B710A-0196-D326-B20B-BFF9A35E71E4}"/>
          </ac:spMkLst>
        </pc:spChg>
        <pc:spChg chg="add mod">
          <ac:chgData name="Clark, Connie" userId="73351e60-ad32-4085-a232-1d9f9b189479" providerId="ADAL" clId="{5F87A5E2-C2A2-4F23-BC8C-28F7F5EA6CA7}" dt="2024-04-02T18:43:37.335" v="27652" actId="5793"/>
          <ac:spMkLst>
            <pc:docMk/>
            <pc:sldMk cId="1741100815" sldId="2147376862"/>
            <ac:spMk id="20" creationId="{719DFB43-268B-B735-8056-D9E34A941236}"/>
          </ac:spMkLst>
        </pc:spChg>
        <pc:spChg chg="del">
          <ac:chgData name="Clark, Connie" userId="73351e60-ad32-4085-a232-1d9f9b189479" providerId="ADAL" clId="{5F87A5E2-C2A2-4F23-BC8C-28F7F5EA6CA7}" dt="2024-04-02T18:29:40.624" v="27148" actId="478"/>
          <ac:spMkLst>
            <pc:docMk/>
            <pc:sldMk cId="1741100815" sldId="2147376862"/>
            <ac:spMk id="21" creationId="{904878E7-8B42-C1D3-EA10-0860033F445A}"/>
          </ac:spMkLst>
        </pc:spChg>
        <pc:spChg chg="del">
          <ac:chgData name="Clark, Connie" userId="73351e60-ad32-4085-a232-1d9f9b189479" providerId="ADAL" clId="{5F87A5E2-C2A2-4F23-BC8C-28F7F5EA6CA7}" dt="2024-04-02T18:29:40.624" v="27148" actId="478"/>
          <ac:spMkLst>
            <pc:docMk/>
            <pc:sldMk cId="1741100815" sldId="2147376862"/>
            <ac:spMk id="22" creationId="{C85986E0-8E62-180F-59E8-2E6514703B33}"/>
          </ac:spMkLst>
        </pc:spChg>
        <pc:spChg chg="del">
          <ac:chgData name="Clark, Connie" userId="73351e60-ad32-4085-a232-1d9f9b189479" providerId="ADAL" clId="{5F87A5E2-C2A2-4F23-BC8C-28F7F5EA6CA7}" dt="2024-04-02T18:29:40.624" v="27148" actId="478"/>
          <ac:spMkLst>
            <pc:docMk/>
            <pc:sldMk cId="1741100815" sldId="2147376862"/>
            <ac:spMk id="23" creationId="{92750208-15EA-7165-A9B3-FE75BE9730BE}"/>
          </ac:spMkLst>
        </pc:spChg>
        <pc:spChg chg="del">
          <ac:chgData name="Clark, Connie" userId="73351e60-ad32-4085-a232-1d9f9b189479" providerId="ADAL" clId="{5F87A5E2-C2A2-4F23-BC8C-28F7F5EA6CA7}" dt="2024-04-02T18:29:40.624" v="27148" actId="478"/>
          <ac:spMkLst>
            <pc:docMk/>
            <pc:sldMk cId="1741100815" sldId="2147376862"/>
            <ac:spMk id="24" creationId="{DB9A2D5B-411B-D9CA-5C58-DA9F57A5A180}"/>
          </ac:spMkLst>
        </pc:spChg>
        <pc:spChg chg="del">
          <ac:chgData name="Clark, Connie" userId="73351e60-ad32-4085-a232-1d9f9b189479" providerId="ADAL" clId="{5F87A5E2-C2A2-4F23-BC8C-28F7F5EA6CA7}" dt="2024-04-02T18:29:40.624" v="27148" actId="478"/>
          <ac:spMkLst>
            <pc:docMk/>
            <pc:sldMk cId="1741100815" sldId="2147376862"/>
            <ac:spMk id="25" creationId="{16A1677D-7C5E-424B-12DF-9CA1850253CF}"/>
          </ac:spMkLst>
        </pc:spChg>
        <pc:spChg chg="del">
          <ac:chgData name="Clark, Connie" userId="73351e60-ad32-4085-a232-1d9f9b189479" providerId="ADAL" clId="{5F87A5E2-C2A2-4F23-BC8C-28F7F5EA6CA7}" dt="2024-04-02T18:29:40.624" v="27148" actId="478"/>
          <ac:spMkLst>
            <pc:docMk/>
            <pc:sldMk cId="1741100815" sldId="2147376862"/>
            <ac:spMk id="26" creationId="{84E85BB3-6FE5-E193-2682-C2D3CBBB7748}"/>
          </ac:spMkLst>
        </pc:spChg>
        <pc:spChg chg="del">
          <ac:chgData name="Clark, Connie" userId="73351e60-ad32-4085-a232-1d9f9b189479" providerId="ADAL" clId="{5F87A5E2-C2A2-4F23-BC8C-28F7F5EA6CA7}" dt="2024-04-02T18:29:40.624" v="27148" actId="478"/>
          <ac:spMkLst>
            <pc:docMk/>
            <pc:sldMk cId="1741100815" sldId="2147376862"/>
            <ac:spMk id="27" creationId="{4513018C-05B1-92A4-5B8F-3DC5328C406B}"/>
          </ac:spMkLst>
        </pc:spChg>
        <pc:spChg chg="mod">
          <ac:chgData name="Clark, Connie" userId="73351e60-ad32-4085-a232-1d9f9b189479" providerId="ADAL" clId="{5F87A5E2-C2A2-4F23-BC8C-28F7F5EA6CA7}" dt="2024-04-02T18:28:51.720" v="27147" actId="20577"/>
          <ac:spMkLst>
            <pc:docMk/>
            <pc:sldMk cId="1741100815" sldId="2147376862"/>
            <ac:spMk id="28" creationId="{1F8DDD3D-F18B-23CB-BD17-0E093682ED6F}"/>
          </ac:spMkLst>
        </pc:spChg>
        <pc:spChg chg="add del mod">
          <ac:chgData name="Clark, Connie" userId="73351e60-ad32-4085-a232-1d9f9b189479" providerId="ADAL" clId="{5F87A5E2-C2A2-4F23-BC8C-28F7F5EA6CA7}" dt="2024-04-02T18:36:50.040" v="27285" actId="478"/>
          <ac:spMkLst>
            <pc:docMk/>
            <pc:sldMk cId="1741100815" sldId="2147376862"/>
            <ac:spMk id="29" creationId="{7AA38CC0-8903-FAB2-877B-D5A12355A70C}"/>
          </ac:spMkLst>
        </pc:spChg>
        <pc:spChg chg="add mod">
          <ac:chgData name="Clark, Connie" userId="73351e60-ad32-4085-a232-1d9f9b189479" providerId="ADAL" clId="{5F87A5E2-C2A2-4F23-BC8C-28F7F5EA6CA7}" dt="2024-04-02T18:39:49.144" v="27409" actId="20577"/>
          <ac:spMkLst>
            <pc:docMk/>
            <pc:sldMk cId="1741100815" sldId="2147376862"/>
            <ac:spMk id="30" creationId="{5E8C536C-F055-0724-6798-B153E54FB6E2}"/>
          </ac:spMkLst>
        </pc:spChg>
        <pc:spChg chg="mod">
          <ac:chgData name="Clark, Connie" userId="73351e60-ad32-4085-a232-1d9f9b189479" providerId="ADAL" clId="{5F87A5E2-C2A2-4F23-BC8C-28F7F5EA6CA7}" dt="2024-04-02T18:35:32.233" v="27279" actId="14100"/>
          <ac:spMkLst>
            <pc:docMk/>
            <pc:sldMk cId="1741100815" sldId="2147376862"/>
            <ac:spMk id="31" creationId="{BF100AE5-778D-142F-750D-0107A394AFAF}"/>
          </ac:spMkLst>
        </pc:spChg>
        <pc:spChg chg="mod">
          <ac:chgData name="Clark, Connie" userId="73351e60-ad32-4085-a232-1d9f9b189479" providerId="ADAL" clId="{5F87A5E2-C2A2-4F23-BC8C-28F7F5EA6CA7}" dt="2024-04-02T18:35:32.233" v="27279" actId="14100"/>
          <ac:spMkLst>
            <pc:docMk/>
            <pc:sldMk cId="1741100815" sldId="2147376862"/>
            <ac:spMk id="64" creationId="{07722337-715A-116E-C751-58535842A48E}"/>
          </ac:spMkLst>
        </pc:spChg>
        <pc:spChg chg="mod">
          <ac:chgData name="Clark, Connie" userId="73351e60-ad32-4085-a232-1d9f9b189479" providerId="ADAL" clId="{5F87A5E2-C2A2-4F23-BC8C-28F7F5EA6CA7}" dt="2024-04-02T18:35:01.659" v="27276" actId="1076"/>
          <ac:spMkLst>
            <pc:docMk/>
            <pc:sldMk cId="1741100815" sldId="2147376862"/>
            <ac:spMk id="65" creationId="{99B6B7EE-E6D9-E611-BDB9-0D371835335C}"/>
          </ac:spMkLst>
        </pc:spChg>
        <pc:spChg chg="add mod">
          <ac:chgData name="Clark, Connie" userId="73351e60-ad32-4085-a232-1d9f9b189479" providerId="ADAL" clId="{5F87A5E2-C2A2-4F23-BC8C-28F7F5EA6CA7}" dt="2024-04-02T18:40:51.628" v="27465" actId="20577"/>
          <ac:spMkLst>
            <pc:docMk/>
            <pc:sldMk cId="1741100815" sldId="2147376862"/>
            <ac:spMk id="66" creationId="{345E1F78-B403-AE80-9A95-F4B4791EF925}"/>
          </ac:spMkLst>
        </pc:spChg>
        <pc:spChg chg="mod">
          <ac:chgData name="Clark, Connie" userId="73351e60-ad32-4085-a232-1d9f9b189479" providerId="ADAL" clId="{5F87A5E2-C2A2-4F23-BC8C-28F7F5EA6CA7}" dt="2024-04-02T18:41:38.638" v="27528" actId="20577"/>
          <ac:spMkLst>
            <pc:docMk/>
            <pc:sldMk cId="1741100815" sldId="2147376862"/>
            <ac:spMk id="67" creationId="{B844FA1D-46D9-3BED-D35A-F75D0D27AE54}"/>
          </ac:spMkLst>
        </pc:spChg>
        <pc:spChg chg="mod">
          <ac:chgData name="Clark, Connie" userId="73351e60-ad32-4085-a232-1d9f9b189479" providerId="ADAL" clId="{5F87A5E2-C2A2-4F23-BC8C-28F7F5EA6CA7}" dt="2024-04-02T18:33:02.548" v="27212" actId="20577"/>
          <ac:spMkLst>
            <pc:docMk/>
            <pc:sldMk cId="1741100815" sldId="2147376862"/>
            <ac:spMk id="68" creationId="{79F0AEA9-9D8C-95E3-BAFF-9AEB55F3B5C5}"/>
          </ac:spMkLst>
        </pc:spChg>
        <pc:spChg chg="mod">
          <ac:chgData name="Clark, Connie" userId="73351e60-ad32-4085-a232-1d9f9b189479" providerId="ADAL" clId="{5F87A5E2-C2A2-4F23-BC8C-28F7F5EA6CA7}" dt="2024-04-02T18:35:46.271" v="27282" actId="14100"/>
          <ac:spMkLst>
            <pc:docMk/>
            <pc:sldMk cId="1741100815" sldId="2147376862"/>
            <ac:spMk id="69" creationId="{0B878F98-23B8-32B3-BFC8-FDAF72D3556E}"/>
          </ac:spMkLst>
        </pc:spChg>
        <pc:spChg chg="add del mod">
          <ac:chgData name="Clark, Connie" userId="73351e60-ad32-4085-a232-1d9f9b189479" providerId="ADAL" clId="{5F87A5E2-C2A2-4F23-BC8C-28F7F5EA6CA7}" dt="2024-04-02T18:37:25.752" v="27291" actId="478"/>
          <ac:spMkLst>
            <pc:docMk/>
            <pc:sldMk cId="1741100815" sldId="2147376862"/>
            <ac:spMk id="70" creationId="{2DC980DE-4AB4-7150-1B01-F7DB78D1B5D7}"/>
          </ac:spMkLst>
        </pc:spChg>
        <pc:spChg chg="mod">
          <ac:chgData name="Clark, Connie" userId="73351e60-ad32-4085-a232-1d9f9b189479" providerId="ADAL" clId="{5F87A5E2-C2A2-4F23-BC8C-28F7F5EA6CA7}" dt="2024-04-02T18:35:43.481" v="27281" actId="14100"/>
          <ac:spMkLst>
            <pc:docMk/>
            <pc:sldMk cId="1741100815" sldId="2147376862"/>
            <ac:spMk id="71" creationId="{0871A5D7-1DFC-7B2D-64D9-644607AA38B3}"/>
          </ac:spMkLst>
        </pc:spChg>
        <pc:picChg chg="add mod">
          <ac:chgData name="Clark, Connie" userId="73351e60-ad32-4085-a232-1d9f9b189479" providerId="ADAL" clId="{5F87A5E2-C2A2-4F23-BC8C-28F7F5EA6CA7}" dt="2024-04-02T18:30:12.707" v="27153" actId="14100"/>
          <ac:picMkLst>
            <pc:docMk/>
            <pc:sldMk cId="1741100815" sldId="2147376862"/>
            <ac:picMk id="2" creationId="{F3F16620-A66C-B7D7-494D-20F9D09D231E}"/>
          </ac:picMkLst>
        </pc:picChg>
        <pc:picChg chg="del">
          <ac:chgData name="Clark, Connie" userId="73351e60-ad32-4085-a232-1d9f9b189479" providerId="ADAL" clId="{5F87A5E2-C2A2-4F23-BC8C-28F7F5EA6CA7}" dt="2024-04-02T18:29:43.553" v="27149" actId="478"/>
          <ac:picMkLst>
            <pc:docMk/>
            <pc:sldMk cId="1741100815" sldId="2147376862"/>
            <ac:picMk id="103" creationId="{2AA2B223-8FCF-166A-3D5B-054F241DBE9D}"/>
          </ac:picMkLst>
        </pc:picChg>
      </pc:sldChg>
      <pc:sldChg chg="delSp modSp add del mod">
        <pc:chgData name="Clark, Connie" userId="73351e60-ad32-4085-a232-1d9f9b189479" providerId="ADAL" clId="{5F87A5E2-C2A2-4F23-BC8C-28F7F5EA6CA7}" dt="2024-05-24T00:09:13.161" v="31035" actId="2696"/>
        <pc:sldMkLst>
          <pc:docMk/>
          <pc:sldMk cId="1890733766" sldId="2147376863"/>
        </pc:sldMkLst>
        <pc:spChg chg="del mod">
          <ac:chgData name="Clark, Connie" userId="73351e60-ad32-4085-a232-1d9f9b189479" providerId="ADAL" clId="{5F87A5E2-C2A2-4F23-BC8C-28F7F5EA6CA7}" dt="2024-04-02T18:45:57.081" v="27669" actId="478"/>
          <ac:spMkLst>
            <pc:docMk/>
            <pc:sldMk cId="1890733766" sldId="2147376863"/>
            <ac:spMk id="8" creationId="{6D3FA199-8828-B47C-8645-4C096C8B6F2A}"/>
          </ac:spMkLst>
        </pc:spChg>
        <pc:spChg chg="del">
          <ac:chgData name="Clark, Connie" userId="73351e60-ad32-4085-a232-1d9f9b189479" providerId="ADAL" clId="{5F87A5E2-C2A2-4F23-BC8C-28F7F5EA6CA7}" dt="2024-04-02T18:45:05.096" v="27667" actId="478"/>
          <ac:spMkLst>
            <pc:docMk/>
            <pc:sldMk cId="1890733766" sldId="2147376863"/>
            <ac:spMk id="18" creationId="{0D227057-5A01-44C7-AAAE-CF64057203AC}"/>
          </ac:spMkLst>
        </pc:spChg>
        <pc:spChg chg="del">
          <ac:chgData name="Clark, Connie" userId="73351e60-ad32-4085-a232-1d9f9b189479" providerId="ADAL" clId="{5F87A5E2-C2A2-4F23-BC8C-28F7F5EA6CA7}" dt="2024-04-02T18:45:05.096" v="27667" actId="478"/>
          <ac:spMkLst>
            <pc:docMk/>
            <pc:sldMk cId="1890733766" sldId="2147376863"/>
            <ac:spMk id="20" creationId="{719DFB43-268B-B735-8056-D9E34A941236}"/>
          </ac:spMkLst>
        </pc:spChg>
        <pc:spChg chg="mod">
          <ac:chgData name="Clark, Connie" userId="73351e60-ad32-4085-a232-1d9f9b189479" providerId="ADAL" clId="{5F87A5E2-C2A2-4F23-BC8C-28F7F5EA6CA7}" dt="2024-04-02T18:44:25.983" v="27666" actId="20577"/>
          <ac:spMkLst>
            <pc:docMk/>
            <pc:sldMk cId="1890733766" sldId="2147376863"/>
            <ac:spMk id="28" creationId="{1F8DDD3D-F18B-23CB-BD17-0E093682ED6F}"/>
          </ac:spMkLst>
        </pc:spChg>
        <pc:spChg chg="del">
          <ac:chgData name="Clark, Connie" userId="73351e60-ad32-4085-a232-1d9f9b189479" providerId="ADAL" clId="{5F87A5E2-C2A2-4F23-BC8C-28F7F5EA6CA7}" dt="2024-04-02T18:45:05.096" v="27667" actId="478"/>
          <ac:spMkLst>
            <pc:docMk/>
            <pc:sldMk cId="1890733766" sldId="2147376863"/>
            <ac:spMk id="30" creationId="{5E8C536C-F055-0724-6798-B153E54FB6E2}"/>
          </ac:spMkLst>
        </pc:spChg>
        <pc:spChg chg="del">
          <ac:chgData name="Clark, Connie" userId="73351e60-ad32-4085-a232-1d9f9b189479" providerId="ADAL" clId="{5F87A5E2-C2A2-4F23-BC8C-28F7F5EA6CA7}" dt="2024-04-02T18:45:05.096" v="27667" actId="478"/>
          <ac:spMkLst>
            <pc:docMk/>
            <pc:sldMk cId="1890733766" sldId="2147376863"/>
            <ac:spMk id="64" creationId="{07722337-715A-116E-C751-58535842A48E}"/>
          </ac:spMkLst>
        </pc:spChg>
        <pc:spChg chg="del">
          <ac:chgData name="Clark, Connie" userId="73351e60-ad32-4085-a232-1d9f9b189479" providerId="ADAL" clId="{5F87A5E2-C2A2-4F23-BC8C-28F7F5EA6CA7}" dt="2024-04-02T18:45:05.096" v="27667" actId="478"/>
          <ac:spMkLst>
            <pc:docMk/>
            <pc:sldMk cId="1890733766" sldId="2147376863"/>
            <ac:spMk id="66" creationId="{345E1F78-B403-AE80-9A95-F4B4791EF925}"/>
          </ac:spMkLst>
        </pc:spChg>
        <pc:spChg chg="del">
          <ac:chgData name="Clark, Connie" userId="73351e60-ad32-4085-a232-1d9f9b189479" providerId="ADAL" clId="{5F87A5E2-C2A2-4F23-BC8C-28F7F5EA6CA7}" dt="2024-04-02T18:45:05.096" v="27667" actId="478"/>
          <ac:spMkLst>
            <pc:docMk/>
            <pc:sldMk cId="1890733766" sldId="2147376863"/>
            <ac:spMk id="67" creationId="{B844FA1D-46D9-3BED-D35A-F75D0D27AE54}"/>
          </ac:spMkLst>
        </pc:spChg>
        <pc:spChg chg="del">
          <ac:chgData name="Clark, Connie" userId="73351e60-ad32-4085-a232-1d9f9b189479" providerId="ADAL" clId="{5F87A5E2-C2A2-4F23-BC8C-28F7F5EA6CA7}" dt="2024-04-02T18:45:05.096" v="27667" actId="478"/>
          <ac:spMkLst>
            <pc:docMk/>
            <pc:sldMk cId="1890733766" sldId="2147376863"/>
            <ac:spMk id="71" creationId="{0871A5D7-1DFC-7B2D-64D9-644607AA38B3}"/>
          </ac:spMkLst>
        </pc:spChg>
      </pc:sldChg>
      <pc:sldChg chg="addSp delSp modSp add del mod setBg">
        <pc:chgData name="Clark, Connie" userId="73351e60-ad32-4085-a232-1d9f9b189479" providerId="ADAL" clId="{5F87A5E2-C2A2-4F23-BC8C-28F7F5EA6CA7}" dt="2024-05-24T00:09:13.161" v="31035" actId="2696"/>
        <pc:sldMkLst>
          <pc:docMk/>
          <pc:sldMk cId="2355618969" sldId="2147376864"/>
        </pc:sldMkLst>
        <pc:spChg chg="del">
          <ac:chgData name="Clark, Connie" userId="73351e60-ad32-4085-a232-1d9f9b189479" providerId="ADAL" clId="{5F87A5E2-C2A2-4F23-BC8C-28F7F5EA6CA7}" dt="2024-05-22T22:16:49.906" v="27859" actId="478"/>
          <ac:spMkLst>
            <pc:docMk/>
            <pc:sldMk cId="2355618969" sldId="2147376864"/>
            <ac:spMk id="2" creationId="{A465A6E4-652C-2DC7-86B4-5B8234941BEF}"/>
          </ac:spMkLst>
        </pc:spChg>
        <pc:spChg chg="del">
          <ac:chgData name="Clark, Connie" userId="73351e60-ad32-4085-a232-1d9f9b189479" providerId="ADAL" clId="{5F87A5E2-C2A2-4F23-BC8C-28F7F5EA6CA7}" dt="2024-05-22T22:16:49.906" v="27859" actId="478"/>
          <ac:spMkLst>
            <pc:docMk/>
            <pc:sldMk cId="2355618969" sldId="2147376864"/>
            <ac:spMk id="3" creationId="{41CDFD70-DE50-1A2C-3F4B-D3109A439ABD}"/>
          </ac:spMkLst>
        </pc:spChg>
        <pc:spChg chg="add mod">
          <ac:chgData name="Clark, Connie" userId="73351e60-ad32-4085-a232-1d9f9b189479" providerId="ADAL" clId="{5F87A5E2-C2A2-4F23-BC8C-28F7F5EA6CA7}" dt="2024-05-22T22:16:53.306" v="27861"/>
          <ac:spMkLst>
            <pc:docMk/>
            <pc:sldMk cId="2355618969" sldId="2147376864"/>
            <ac:spMk id="6" creationId="{A4296835-EC90-FEC2-5F0B-7B2CFAE6BA77}"/>
          </ac:spMkLst>
        </pc:spChg>
        <pc:spChg chg="add mod">
          <ac:chgData name="Clark, Connie" userId="73351e60-ad32-4085-a232-1d9f9b189479" providerId="ADAL" clId="{5F87A5E2-C2A2-4F23-BC8C-28F7F5EA6CA7}" dt="2024-05-22T22:16:53.306" v="27861"/>
          <ac:spMkLst>
            <pc:docMk/>
            <pc:sldMk cId="2355618969" sldId="2147376864"/>
            <ac:spMk id="7" creationId="{C29B564F-B573-8CFC-4048-AF5E5A99816F}"/>
          </ac:spMkLst>
        </pc:spChg>
        <pc:spChg chg="del mod">
          <ac:chgData name="Clark, Connie" userId="73351e60-ad32-4085-a232-1d9f9b189479" providerId="ADAL" clId="{5F87A5E2-C2A2-4F23-BC8C-28F7F5EA6CA7}" dt="2024-05-22T22:16:49.906" v="27859" actId="478"/>
          <ac:spMkLst>
            <pc:docMk/>
            <pc:sldMk cId="2355618969" sldId="2147376864"/>
            <ac:spMk id="9" creationId="{9471083A-98D2-8F37-7493-9C680DF70067}"/>
          </ac:spMkLst>
        </pc:spChg>
        <pc:spChg chg="del">
          <ac:chgData name="Clark, Connie" userId="73351e60-ad32-4085-a232-1d9f9b189479" providerId="ADAL" clId="{5F87A5E2-C2A2-4F23-BC8C-28F7F5EA6CA7}" dt="2024-05-22T22:16:49.906" v="27859" actId="478"/>
          <ac:spMkLst>
            <pc:docMk/>
            <pc:sldMk cId="2355618969" sldId="2147376864"/>
            <ac:spMk id="10" creationId="{12B1270C-F633-9796-D54A-4B18D5CA9451}"/>
          </ac:spMkLst>
        </pc:spChg>
        <pc:spChg chg="mod">
          <ac:chgData name="Clark, Connie" userId="73351e60-ad32-4085-a232-1d9f9b189479" providerId="ADAL" clId="{5F87A5E2-C2A2-4F23-BC8C-28F7F5EA6CA7}" dt="2024-05-22T22:13:21.627" v="27847" actId="20577"/>
          <ac:spMkLst>
            <pc:docMk/>
            <pc:sldMk cId="2355618969" sldId="2147376864"/>
            <ac:spMk id="11" creationId="{1833051D-5018-DEC2-8B44-9059B75ED28A}"/>
          </ac:spMkLst>
        </pc:spChg>
        <pc:spChg chg="add mod">
          <ac:chgData name="Clark, Connie" userId="73351e60-ad32-4085-a232-1d9f9b189479" providerId="ADAL" clId="{5F87A5E2-C2A2-4F23-BC8C-28F7F5EA6CA7}" dt="2024-05-22T22:16:53.306" v="27861"/>
          <ac:spMkLst>
            <pc:docMk/>
            <pc:sldMk cId="2355618969" sldId="2147376864"/>
            <ac:spMk id="12" creationId="{F12D57AA-FA5E-0451-4A6B-31D076AE8456}"/>
          </ac:spMkLst>
        </pc:spChg>
        <pc:spChg chg="add mod">
          <ac:chgData name="Clark, Connie" userId="73351e60-ad32-4085-a232-1d9f9b189479" providerId="ADAL" clId="{5F87A5E2-C2A2-4F23-BC8C-28F7F5EA6CA7}" dt="2024-05-22T22:16:53.306" v="27861"/>
          <ac:spMkLst>
            <pc:docMk/>
            <pc:sldMk cId="2355618969" sldId="2147376864"/>
            <ac:spMk id="13" creationId="{726F13B6-3970-36E9-264D-728ED5EA7888}"/>
          </ac:spMkLst>
        </pc:spChg>
        <pc:picChg chg="add mod">
          <ac:chgData name="Clark, Connie" userId="73351e60-ad32-4085-a232-1d9f9b189479" providerId="ADAL" clId="{5F87A5E2-C2A2-4F23-BC8C-28F7F5EA6CA7}" dt="2024-05-22T22:24:45.011" v="28089" actId="1076"/>
          <ac:picMkLst>
            <pc:docMk/>
            <pc:sldMk cId="2355618969" sldId="2147376864"/>
            <ac:picMk id="5" creationId="{335055D4-73DA-350F-6AF3-55F77F172FA1}"/>
          </ac:picMkLst>
        </pc:picChg>
        <pc:picChg chg="del">
          <ac:chgData name="Clark, Connie" userId="73351e60-ad32-4085-a232-1d9f9b189479" providerId="ADAL" clId="{5F87A5E2-C2A2-4F23-BC8C-28F7F5EA6CA7}" dt="2024-05-22T22:16:34.961" v="27857" actId="478"/>
          <ac:picMkLst>
            <pc:docMk/>
            <pc:sldMk cId="2355618969" sldId="2147376864"/>
            <ac:picMk id="8" creationId="{0279D2A0-4078-433D-7EDF-D4697D229A31}"/>
          </ac:picMkLst>
        </pc:picChg>
      </pc:sldChg>
      <pc:sldChg chg="addSp delSp modSp add del mod setBg">
        <pc:chgData name="Clark, Connie" userId="73351e60-ad32-4085-a232-1d9f9b189479" providerId="ADAL" clId="{5F87A5E2-C2A2-4F23-BC8C-28F7F5EA6CA7}" dt="2024-05-22T22:25:55.373" v="28093" actId="47"/>
        <pc:sldMkLst>
          <pc:docMk/>
          <pc:sldMk cId="1609839873" sldId="2147376865"/>
        </pc:sldMkLst>
        <pc:spChg chg="del">
          <ac:chgData name="Clark, Connie" userId="73351e60-ad32-4085-a232-1d9f9b189479" providerId="ADAL" clId="{5F87A5E2-C2A2-4F23-BC8C-28F7F5EA6CA7}" dt="2024-05-22T22:18:38.419" v="27871" actId="478"/>
          <ac:spMkLst>
            <pc:docMk/>
            <pc:sldMk cId="1609839873" sldId="2147376865"/>
            <ac:spMk id="2" creationId="{A465A6E4-652C-2DC7-86B4-5B8234941BEF}"/>
          </ac:spMkLst>
        </pc:spChg>
        <pc:spChg chg="del">
          <ac:chgData name="Clark, Connie" userId="73351e60-ad32-4085-a232-1d9f9b189479" providerId="ADAL" clId="{5F87A5E2-C2A2-4F23-BC8C-28F7F5EA6CA7}" dt="2024-05-22T22:18:38.419" v="27871" actId="478"/>
          <ac:spMkLst>
            <pc:docMk/>
            <pc:sldMk cId="1609839873" sldId="2147376865"/>
            <ac:spMk id="3" creationId="{41CDFD70-DE50-1A2C-3F4B-D3109A439ABD}"/>
          </ac:spMkLst>
        </pc:spChg>
        <pc:spChg chg="add mod">
          <ac:chgData name="Clark, Connie" userId="73351e60-ad32-4085-a232-1d9f9b189479" providerId="ADAL" clId="{5F87A5E2-C2A2-4F23-BC8C-28F7F5EA6CA7}" dt="2024-05-22T22:20:59.096" v="27878" actId="692"/>
          <ac:spMkLst>
            <pc:docMk/>
            <pc:sldMk cId="1609839873" sldId="2147376865"/>
            <ac:spMk id="7" creationId="{6CC71A4A-638A-6EE7-A9B1-620570405A2F}"/>
          </ac:spMkLst>
        </pc:spChg>
        <pc:spChg chg="del">
          <ac:chgData name="Clark, Connie" userId="73351e60-ad32-4085-a232-1d9f9b189479" providerId="ADAL" clId="{5F87A5E2-C2A2-4F23-BC8C-28F7F5EA6CA7}" dt="2024-05-22T22:18:38.419" v="27871" actId="478"/>
          <ac:spMkLst>
            <pc:docMk/>
            <pc:sldMk cId="1609839873" sldId="2147376865"/>
            <ac:spMk id="9" creationId="{9471083A-98D2-8F37-7493-9C680DF70067}"/>
          </ac:spMkLst>
        </pc:spChg>
        <pc:spChg chg="del">
          <ac:chgData name="Clark, Connie" userId="73351e60-ad32-4085-a232-1d9f9b189479" providerId="ADAL" clId="{5F87A5E2-C2A2-4F23-BC8C-28F7F5EA6CA7}" dt="2024-05-22T22:18:38.419" v="27871" actId="478"/>
          <ac:spMkLst>
            <pc:docMk/>
            <pc:sldMk cId="1609839873" sldId="2147376865"/>
            <ac:spMk id="10" creationId="{12B1270C-F633-9796-D54A-4B18D5CA9451}"/>
          </ac:spMkLst>
        </pc:spChg>
        <pc:spChg chg="add mod">
          <ac:chgData name="Clark, Connie" userId="73351e60-ad32-4085-a232-1d9f9b189479" providerId="ADAL" clId="{5F87A5E2-C2A2-4F23-BC8C-28F7F5EA6CA7}" dt="2024-05-22T22:18:45.319" v="27874"/>
          <ac:spMkLst>
            <pc:docMk/>
            <pc:sldMk cId="1609839873" sldId="2147376865"/>
            <ac:spMk id="12" creationId="{AFB8DF79-1D74-41E8-AD1A-028B103340A9}"/>
          </ac:spMkLst>
        </pc:spChg>
        <pc:spChg chg="add mod">
          <ac:chgData name="Clark, Connie" userId="73351e60-ad32-4085-a232-1d9f9b189479" providerId="ADAL" clId="{5F87A5E2-C2A2-4F23-BC8C-28F7F5EA6CA7}" dt="2024-05-22T22:18:45.319" v="27874"/>
          <ac:spMkLst>
            <pc:docMk/>
            <pc:sldMk cId="1609839873" sldId="2147376865"/>
            <ac:spMk id="13" creationId="{85BB5064-55D5-D9ED-1BFD-8BBE821A8210}"/>
          </ac:spMkLst>
        </pc:spChg>
        <pc:spChg chg="add mod">
          <ac:chgData name="Clark, Connie" userId="73351e60-ad32-4085-a232-1d9f9b189479" providerId="ADAL" clId="{5F87A5E2-C2A2-4F23-BC8C-28F7F5EA6CA7}" dt="2024-05-22T22:18:45.319" v="27874"/>
          <ac:spMkLst>
            <pc:docMk/>
            <pc:sldMk cId="1609839873" sldId="2147376865"/>
            <ac:spMk id="14" creationId="{703D4A3B-8628-DC6A-6A23-1B0F14E497DA}"/>
          </ac:spMkLst>
        </pc:spChg>
        <pc:picChg chg="del">
          <ac:chgData name="Clark, Connie" userId="73351e60-ad32-4085-a232-1d9f9b189479" providerId="ADAL" clId="{5F87A5E2-C2A2-4F23-BC8C-28F7F5EA6CA7}" dt="2024-05-22T22:17:47.621" v="27864" actId="478"/>
          <ac:picMkLst>
            <pc:docMk/>
            <pc:sldMk cId="1609839873" sldId="2147376865"/>
            <ac:picMk id="5" creationId="{335055D4-73DA-350F-6AF3-55F77F172FA1}"/>
          </ac:picMkLst>
        </pc:picChg>
        <pc:picChg chg="add mod">
          <ac:chgData name="Clark, Connie" userId="73351e60-ad32-4085-a232-1d9f9b189479" providerId="ADAL" clId="{5F87A5E2-C2A2-4F23-BC8C-28F7F5EA6CA7}" dt="2024-05-22T22:25:29.833" v="28092" actId="14100"/>
          <ac:picMkLst>
            <pc:docMk/>
            <pc:sldMk cId="1609839873" sldId="2147376865"/>
            <ac:picMk id="6" creationId="{30EC54FD-9B16-972E-F6BB-6F2FC1213238}"/>
          </ac:picMkLst>
        </pc:picChg>
        <pc:picChg chg="del">
          <ac:chgData name="Clark, Connie" userId="73351e60-ad32-4085-a232-1d9f9b189479" providerId="ADAL" clId="{5F87A5E2-C2A2-4F23-BC8C-28F7F5EA6CA7}" dt="2024-05-22T22:18:39.551" v="27872" actId="478"/>
          <ac:picMkLst>
            <pc:docMk/>
            <pc:sldMk cId="1609839873" sldId="2147376865"/>
            <ac:picMk id="8" creationId="{0279D2A0-4078-433D-7EDF-D4697D229A31}"/>
          </ac:picMkLst>
        </pc:picChg>
      </pc:sldChg>
      <pc:sldChg chg="addSp modSp add del mod">
        <pc:chgData name="Clark, Connie" userId="73351e60-ad32-4085-a232-1d9f9b189479" providerId="ADAL" clId="{5F87A5E2-C2A2-4F23-BC8C-28F7F5EA6CA7}" dt="2024-05-24T00:09:13.161" v="31035" actId="2696"/>
        <pc:sldMkLst>
          <pc:docMk/>
          <pc:sldMk cId="2183930026" sldId="2147376865"/>
        </pc:sldMkLst>
        <pc:spChg chg="mod">
          <ac:chgData name="Clark, Connie" userId="73351e60-ad32-4085-a232-1d9f9b189479" providerId="ADAL" clId="{5F87A5E2-C2A2-4F23-BC8C-28F7F5EA6CA7}" dt="2024-05-22T23:27:15.520" v="29190" actId="14100"/>
          <ac:spMkLst>
            <pc:docMk/>
            <pc:sldMk cId="2183930026" sldId="2147376865"/>
            <ac:spMk id="6" creationId="{5183F075-A04F-B635-486A-AE97F8318141}"/>
          </ac:spMkLst>
        </pc:spChg>
        <pc:spChg chg="mod">
          <ac:chgData name="Clark, Connie" userId="73351e60-ad32-4085-a232-1d9f9b189479" providerId="ADAL" clId="{5F87A5E2-C2A2-4F23-BC8C-28F7F5EA6CA7}" dt="2024-05-23T00:11:45.838" v="30344" actId="1076"/>
          <ac:spMkLst>
            <pc:docMk/>
            <pc:sldMk cId="2183930026" sldId="2147376865"/>
            <ac:spMk id="28" creationId="{3C630108-40D2-86F5-D216-35EA7155E414}"/>
          </ac:spMkLst>
        </pc:spChg>
        <pc:picChg chg="add mod">
          <ac:chgData name="Clark, Connie" userId="73351e60-ad32-4085-a232-1d9f9b189479" providerId="ADAL" clId="{5F87A5E2-C2A2-4F23-BC8C-28F7F5EA6CA7}" dt="2024-05-22T23:27:26.551" v="29193" actId="1076"/>
          <ac:picMkLst>
            <pc:docMk/>
            <pc:sldMk cId="2183930026" sldId="2147376865"/>
            <ac:picMk id="3" creationId="{4982AFB9-ADAF-C62A-3691-942B29793588}"/>
          </ac:picMkLst>
        </pc:picChg>
      </pc:sldChg>
      <pc:sldChg chg="addSp delSp modSp add del mod">
        <pc:chgData name="Clark, Connie" userId="73351e60-ad32-4085-a232-1d9f9b189479" providerId="ADAL" clId="{5F87A5E2-C2A2-4F23-BC8C-28F7F5EA6CA7}" dt="2024-05-24T00:09:13.161" v="31035" actId="2696"/>
        <pc:sldMkLst>
          <pc:docMk/>
          <pc:sldMk cId="3377566955" sldId="2147376866"/>
        </pc:sldMkLst>
        <pc:spChg chg="mod">
          <ac:chgData name="Clark, Connie" userId="73351e60-ad32-4085-a232-1d9f9b189479" providerId="ADAL" clId="{5F87A5E2-C2A2-4F23-BC8C-28F7F5EA6CA7}" dt="2024-05-22T22:27:45.203" v="28104" actId="20577"/>
          <ac:spMkLst>
            <pc:docMk/>
            <pc:sldMk cId="3377566955" sldId="2147376866"/>
            <ac:spMk id="2" creationId="{C3BBFE52-03B4-994D-A1EB-ED46363399E3}"/>
          </ac:spMkLst>
        </pc:spChg>
        <pc:spChg chg="del">
          <ac:chgData name="Clark, Connie" userId="73351e60-ad32-4085-a232-1d9f9b189479" providerId="ADAL" clId="{5F87A5E2-C2A2-4F23-BC8C-28F7F5EA6CA7}" dt="2024-05-22T22:27:51.560" v="28106" actId="478"/>
          <ac:spMkLst>
            <pc:docMk/>
            <pc:sldMk cId="3377566955" sldId="2147376866"/>
            <ac:spMk id="10" creationId="{387799AB-D960-ADBB-51C0-D33E81D9FB77}"/>
          </ac:spMkLst>
        </pc:spChg>
        <pc:picChg chg="del">
          <ac:chgData name="Clark, Connie" userId="73351e60-ad32-4085-a232-1d9f9b189479" providerId="ADAL" clId="{5F87A5E2-C2A2-4F23-BC8C-28F7F5EA6CA7}" dt="2024-05-22T22:27:47.665" v="28105" actId="478"/>
          <ac:picMkLst>
            <pc:docMk/>
            <pc:sldMk cId="3377566955" sldId="2147376866"/>
            <ac:picMk id="3" creationId="{BA86FCCB-310F-3866-D856-4536EB1C30E6}"/>
          </ac:picMkLst>
        </pc:picChg>
        <pc:picChg chg="add mod">
          <ac:chgData name="Clark, Connie" userId="73351e60-ad32-4085-a232-1d9f9b189479" providerId="ADAL" clId="{5F87A5E2-C2A2-4F23-BC8C-28F7F5EA6CA7}" dt="2024-05-22T22:29:52.214" v="28116" actId="1076"/>
          <ac:picMkLst>
            <pc:docMk/>
            <pc:sldMk cId="3377566955" sldId="2147376866"/>
            <ac:picMk id="8" creationId="{2C5493A9-E309-5178-5A4D-589414FEFD3E}"/>
          </ac:picMkLst>
        </pc:picChg>
      </pc:sldChg>
      <pc:sldChg chg="addSp delSp modSp add del mod">
        <pc:chgData name="Clark, Connie" userId="73351e60-ad32-4085-a232-1d9f9b189479" providerId="ADAL" clId="{5F87A5E2-C2A2-4F23-BC8C-28F7F5EA6CA7}" dt="2024-05-24T00:09:13.161" v="31035" actId="2696"/>
        <pc:sldMkLst>
          <pc:docMk/>
          <pc:sldMk cId="2297666114" sldId="2147376867"/>
        </pc:sldMkLst>
        <pc:spChg chg="add mod">
          <ac:chgData name="Clark, Connie" userId="73351e60-ad32-4085-a232-1d9f9b189479" providerId="ADAL" clId="{5F87A5E2-C2A2-4F23-BC8C-28F7F5EA6CA7}" dt="2024-05-22T22:31:59.011" v="28176" actId="20577"/>
          <ac:spMkLst>
            <pc:docMk/>
            <pc:sldMk cId="2297666114" sldId="2147376867"/>
            <ac:spMk id="3" creationId="{31EE92DA-74C0-FC51-A45C-6281B6ACF7CC}"/>
          </ac:spMkLst>
        </pc:spChg>
        <pc:spChg chg="del">
          <ac:chgData name="Clark, Connie" userId="73351e60-ad32-4085-a232-1d9f9b189479" providerId="ADAL" clId="{5F87A5E2-C2A2-4F23-BC8C-28F7F5EA6CA7}" dt="2024-05-22T22:31:05.314" v="28117" actId="478"/>
          <ac:spMkLst>
            <pc:docMk/>
            <pc:sldMk cId="2297666114" sldId="2147376867"/>
            <ac:spMk id="4" creationId="{7E78FA78-ABD1-E962-7429-A8D1FDE37E9F}"/>
          </ac:spMkLst>
        </pc:spChg>
        <pc:spChg chg="mod">
          <ac:chgData name="Clark, Connie" userId="73351e60-ad32-4085-a232-1d9f9b189479" providerId="ADAL" clId="{5F87A5E2-C2A2-4F23-BC8C-28F7F5EA6CA7}" dt="2024-05-22T22:54:42.412" v="29122" actId="1076"/>
          <ac:spMkLst>
            <pc:docMk/>
            <pc:sldMk cId="2297666114" sldId="2147376867"/>
            <ac:spMk id="5" creationId="{EFFA606A-F1B9-C654-8418-8BF5C56CF0F4}"/>
          </ac:spMkLst>
        </pc:spChg>
        <pc:spChg chg="del">
          <ac:chgData name="Clark, Connie" userId="73351e60-ad32-4085-a232-1d9f9b189479" providerId="ADAL" clId="{5F87A5E2-C2A2-4F23-BC8C-28F7F5EA6CA7}" dt="2024-05-22T22:33:57.662" v="28306" actId="478"/>
          <ac:spMkLst>
            <pc:docMk/>
            <pc:sldMk cId="2297666114" sldId="2147376867"/>
            <ac:spMk id="6" creationId="{5183F075-A04F-B635-486A-AE97F8318141}"/>
          </ac:spMkLst>
        </pc:spChg>
        <pc:spChg chg="add del mod">
          <ac:chgData name="Clark, Connie" userId="73351e60-ad32-4085-a232-1d9f9b189479" providerId="ADAL" clId="{5F87A5E2-C2A2-4F23-BC8C-28F7F5EA6CA7}" dt="2024-05-22T22:49:02.528" v="29079" actId="478"/>
          <ac:spMkLst>
            <pc:docMk/>
            <pc:sldMk cId="2297666114" sldId="2147376867"/>
            <ac:spMk id="11" creationId="{281E252A-4006-246A-C8A1-28AB27EAF4DB}"/>
          </ac:spMkLst>
        </pc:spChg>
        <pc:spChg chg="del">
          <ac:chgData name="Clark, Connie" userId="73351e60-ad32-4085-a232-1d9f9b189479" providerId="ADAL" clId="{5F87A5E2-C2A2-4F23-BC8C-28F7F5EA6CA7}" dt="2024-05-22T22:33:54.212" v="28305" actId="478"/>
          <ac:spMkLst>
            <pc:docMk/>
            <pc:sldMk cId="2297666114" sldId="2147376867"/>
            <ac:spMk id="18" creationId="{93787963-738A-C451-1BE5-815FBB81AD79}"/>
          </ac:spMkLst>
        </pc:spChg>
        <pc:spChg chg="add del mod">
          <ac:chgData name="Clark, Connie" userId="73351e60-ad32-4085-a232-1d9f9b189479" providerId="ADAL" clId="{5F87A5E2-C2A2-4F23-BC8C-28F7F5EA6CA7}" dt="2024-05-22T22:43:33.411" v="28513" actId="478"/>
          <ac:spMkLst>
            <pc:docMk/>
            <pc:sldMk cId="2297666114" sldId="2147376867"/>
            <ac:spMk id="19" creationId="{956E4FE2-6E3E-069F-4388-1CACDFF0D287}"/>
          </ac:spMkLst>
        </pc:spChg>
        <pc:spChg chg="add del mod">
          <ac:chgData name="Clark, Connie" userId="73351e60-ad32-4085-a232-1d9f9b189479" providerId="ADAL" clId="{5F87A5E2-C2A2-4F23-BC8C-28F7F5EA6CA7}" dt="2024-05-22T22:49:02.528" v="29079" actId="478"/>
          <ac:spMkLst>
            <pc:docMk/>
            <pc:sldMk cId="2297666114" sldId="2147376867"/>
            <ac:spMk id="22" creationId="{80D06C1E-4A7C-EEEB-B990-77EBD6BECC16}"/>
          </ac:spMkLst>
        </pc:spChg>
        <pc:spChg chg="del">
          <ac:chgData name="Clark, Connie" userId="73351e60-ad32-4085-a232-1d9f9b189479" providerId="ADAL" clId="{5F87A5E2-C2A2-4F23-BC8C-28F7F5EA6CA7}" dt="2024-05-22T22:36:11.607" v="28309" actId="478"/>
          <ac:spMkLst>
            <pc:docMk/>
            <pc:sldMk cId="2297666114" sldId="2147376867"/>
            <ac:spMk id="25" creationId="{F8B8A1FD-74CC-5DE6-9474-69B5F740CDA2}"/>
          </ac:spMkLst>
        </pc:spChg>
        <pc:spChg chg="del">
          <ac:chgData name="Clark, Connie" userId="73351e60-ad32-4085-a232-1d9f9b189479" providerId="ADAL" clId="{5F87A5E2-C2A2-4F23-BC8C-28F7F5EA6CA7}" dt="2024-05-22T22:36:11.607" v="28309" actId="478"/>
          <ac:spMkLst>
            <pc:docMk/>
            <pc:sldMk cId="2297666114" sldId="2147376867"/>
            <ac:spMk id="26" creationId="{58E858EA-E162-A77E-B7D4-7A58DE2D54D1}"/>
          </ac:spMkLst>
        </pc:spChg>
        <pc:spChg chg="del">
          <ac:chgData name="Clark, Connie" userId="73351e60-ad32-4085-a232-1d9f9b189479" providerId="ADAL" clId="{5F87A5E2-C2A2-4F23-BC8C-28F7F5EA6CA7}" dt="2024-05-22T22:33:54.212" v="28305" actId="478"/>
          <ac:spMkLst>
            <pc:docMk/>
            <pc:sldMk cId="2297666114" sldId="2147376867"/>
            <ac:spMk id="27" creationId="{014B3EF6-000F-CA7A-CDB2-4B997177478E}"/>
          </ac:spMkLst>
        </pc:spChg>
        <pc:spChg chg="del">
          <ac:chgData name="Clark, Connie" userId="73351e60-ad32-4085-a232-1d9f9b189479" providerId="ADAL" clId="{5F87A5E2-C2A2-4F23-BC8C-28F7F5EA6CA7}" dt="2024-05-22T22:33:54.212" v="28305" actId="478"/>
          <ac:spMkLst>
            <pc:docMk/>
            <pc:sldMk cId="2297666114" sldId="2147376867"/>
            <ac:spMk id="28" creationId="{3C630108-40D2-86F5-D216-35EA7155E414}"/>
          </ac:spMkLst>
        </pc:spChg>
        <pc:spChg chg="add del mod">
          <ac:chgData name="Clark, Connie" userId="73351e60-ad32-4085-a232-1d9f9b189479" providerId="ADAL" clId="{5F87A5E2-C2A2-4F23-BC8C-28F7F5EA6CA7}" dt="2024-05-22T22:49:02.528" v="29079" actId="478"/>
          <ac:spMkLst>
            <pc:docMk/>
            <pc:sldMk cId="2297666114" sldId="2147376867"/>
            <ac:spMk id="29" creationId="{1730536B-EEE0-A102-643F-401CDD5539CF}"/>
          </ac:spMkLst>
        </pc:spChg>
        <pc:spChg chg="add mod">
          <ac:chgData name="Clark, Connie" userId="73351e60-ad32-4085-a232-1d9f9b189479" providerId="ADAL" clId="{5F87A5E2-C2A2-4F23-BC8C-28F7F5EA6CA7}" dt="2024-05-22T23:11:01.304" v="29125" actId="20577"/>
          <ac:spMkLst>
            <pc:docMk/>
            <pc:sldMk cId="2297666114" sldId="2147376867"/>
            <ac:spMk id="33" creationId="{9AC44F1E-A3FD-C474-E304-BDB173CAE51B}"/>
          </ac:spMkLst>
        </pc:spChg>
        <pc:spChg chg="add mod">
          <ac:chgData name="Clark, Connie" userId="73351e60-ad32-4085-a232-1d9f9b189479" providerId="ADAL" clId="{5F87A5E2-C2A2-4F23-BC8C-28F7F5EA6CA7}" dt="2024-05-22T22:54:23.568" v="29121" actId="1076"/>
          <ac:spMkLst>
            <pc:docMk/>
            <pc:sldMk cId="2297666114" sldId="2147376867"/>
            <ac:spMk id="35" creationId="{45C0B5FA-48D0-EBF7-B7DE-0ADBD853D787}"/>
          </ac:spMkLst>
        </pc:spChg>
        <pc:spChg chg="add mod">
          <ac:chgData name="Clark, Connie" userId="73351e60-ad32-4085-a232-1d9f9b189479" providerId="ADAL" clId="{5F87A5E2-C2A2-4F23-BC8C-28F7F5EA6CA7}" dt="2024-05-22T23:12:08.455" v="29126" actId="208"/>
          <ac:spMkLst>
            <pc:docMk/>
            <pc:sldMk cId="2297666114" sldId="2147376867"/>
            <ac:spMk id="36" creationId="{1B96D5D6-D9F7-B794-9D89-01BAB20AAA59}"/>
          </ac:spMkLst>
        </pc:spChg>
        <pc:grpChg chg="del">
          <ac:chgData name="Clark, Connie" userId="73351e60-ad32-4085-a232-1d9f9b189479" providerId="ADAL" clId="{5F87A5E2-C2A2-4F23-BC8C-28F7F5EA6CA7}" dt="2024-05-22T22:36:11.607" v="28309" actId="478"/>
          <ac:grpSpMkLst>
            <pc:docMk/>
            <pc:sldMk cId="2297666114" sldId="2147376867"/>
            <ac:grpSpMk id="12" creationId="{27980886-393E-E544-AFA0-98EFD967587F}"/>
          </ac:grpSpMkLst>
        </pc:grpChg>
        <pc:picChg chg="add del mod">
          <ac:chgData name="Clark, Connie" userId="73351e60-ad32-4085-a232-1d9f9b189479" providerId="ADAL" clId="{5F87A5E2-C2A2-4F23-BC8C-28F7F5EA6CA7}" dt="2024-05-22T22:49:02.528" v="29079" actId="478"/>
          <ac:picMkLst>
            <pc:docMk/>
            <pc:sldMk cId="2297666114" sldId="2147376867"/>
            <ac:picMk id="10" creationId="{C9FD4C74-FA55-1D2A-C786-4063FCC154D2}"/>
          </ac:picMkLst>
        </pc:picChg>
        <pc:picChg chg="add del mod">
          <ac:chgData name="Clark, Connie" userId="73351e60-ad32-4085-a232-1d9f9b189479" providerId="ADAL" clId="{5F87A5E2-C2A2-4F23-BC8C-28F7F5EA6CA7}" dt="2024-05-22T22:49:02.528" v="29079" actId="478"/>
          <ac:picMkLst>
            <pc:docMk/>
            <pc:sldMk cId="2297666114" sldId="2147376867"/>
            <ac:picMk id="21" creationId="{0CEC298B-FF78-B685-CA14-3F5CBCC1CF6F}"/>
          </ac:picMkLst>
        </pc:picChg>
        <pc:picChg chg="del">
          <ac:chgData name="Clark, Connie" userId="73351e60-ad32-4085-a232-1d9f9b189479" providerId="ADAL" clId="{5F87A5E2-C2A2-4F23-BC8C-28F7F5EA6CA7}" dt="2024-05-22T22:33:54.212" v="28305" actId="478"/>
          <ac:picMkLst>
            <pc:docMk/>
            <pc:sldMk cId="2297666114" sldId="2147376867"/>
            <ac:picMk id="23" creationId="{32BB6415-1BCA-89FF-9F43-C1015A5E6628}"/>
          </ac:picMkLst>
        </pc:picChg>
        <pc:picChg chg="add del mod">
          <ac:chgData name="Clark, Connie" userId="73351e60-ad32-4085-a232-1d9f9b189479" providerId="ADAL" clId="{5F87A5E2-C2A2-4F23-BC8C-28F7F5EA6CA7}" dt="2024-05-22T22:43:30.165" v="28511" actId="478"/>
          <ac:picMkLst>
            <pc:docMk/>
            <pc:sldMk cId="2297666114" sldId="2147376867"/>
            <ac:picMk id="24" creationId="{3869FE4A-474E-C012-7D89-A44F7BF3AD20}"/>
          </ac:picMkLst>
        </pc:picChg>
        <pc:picChg chg="add mod">
          <ac:chgData name="Clark, Connie" userId="73351e60-ad32-4085-a232-1d9f9b189479" providerId="ADAL" clId="{5F87A5E2-C2A2-4F23-BC8C-28F7F5EA6CA7}" dt="2024-05-22T23:14:42.117" v="29185" actId="339"/>
          <ac:picMkLst>
            <pc:docMk/>
            <pc:sldMk cId="2297666114" sldId="2147376867"/>
            <ac:picMk id="31" creationId="{4C4FEE8E-CEB9-2637-C5D7-368E6C3A1A01}"/>
          </ac:picMkLst>
        </pc:picChg>
        <pc:picChg chg="add mod">
          <ac:chgData name="Clark, Connie" userId="73351e60-ad32-4085-a232-1d9f9b189479" providerId="ADAL" clId="{5F87A5E2-C2A2-4F23-BC8C-28F7F5EA6CA7}" dt="2024-05-22T22:53:35.501" v="29115" actId="1076"/>
          <ac:picMkLst>
            <pc:docMk/>
            <pc:sldMk cId="2297666114" sldId="2147376867"/>
            <ac:picMk id="32" creationId="{477FC393-0351-2710-96F2-88E84B853B32}"/>
          </ac:picMkLst>
        </pc:picChg>
        <pc:picChg chg="add mod">
          <ac:chgData name="Clark, Connie" userId="73351e60-ad32-4085-a232-1d9f9b189479" providerId="ADAL" clId="{5F87A5E2-C2A2-4F23-BC8C-28F7F5EA6CA7}" dt="2024-05-22T22:54:23.568" v="29121" actId="1076"/>
          <ac:picMkLst>
            <pc:docMk/>
            <pc:sldMk cId="2297666114" sldId="2147376867"/>
            <ac:picMk id="34" creationId="{4F6751B3-4F5B-3CEA-6569-81648E515076}"/>
          </ac:picMkLst>
        </pc:picChg>
        <pc:cxnChg chg="del">
          <ac:chgData name="Clark, Connie" userId="73351e60-ad32-4085-a232-1d9f9b189479" providerId="ADAL" clId="{5F87A5E2-C2A2-4F23-BC8C-28F7F5EA6CA7}" dt="2024-05-22T22:36:17.945" v="28310" actId="478"/>
          <ac:cxnSpMkLst>
            <pc:docMk/>
            <pc:sldMk cId="2297666114" sldId="2147376867"/>
            <ac:cxnSpMk id="7" creationId="{85D1103F-6D11-B879-0659-00B1A64C52F1}"/>
          </ac:cxnSpMkLst>
        </pc:cxnChg>
        <pc:cxnChg chg="del">
          <ac:chgData name="Clark, Connie" userId="73351e60-ad32-4085-a232-1d9f9b189479" providerId="ADAL" clId="{5F87A5E2-C2A2-4F23-BC8C-28F7F5EA6CA7}" dt="2024-05-22T22:36:17.945" v="28310" actId="478"/>
          <ac:cxnSpMkLst>
            <pc:docMk/>
            <pc:sldMk cId="2297666114" sldId="2147376867"/>
            <ac:cxnSpMk id="9" creationId="{26362CCB-3D61-6D87-535C-BBA0B0C11BCA}"/>
          </ac:cxnSpMkLst>
        </pc:cxnChg>
      </pc:sldChg>
      <pc:sldChg chg="addSp delSp modSp add del mod">
        <pc:chgData name="Clark, Connie" userId="73351e60-ad32-4085-a232-1d9f9b189479" providerId="ADAL" clId="{5F87A5E2-C2A2-4F23-BC8C-28F7F5EA6CA7}" dt="2024-05-24T00:09:13.161" v="31035" actId="2696"/>
        <pc:sldMkLst>
          <pc:docMk/>
          <pc:sldMk cId="1234780969" sldId="2147376868"/>
        </pc:sldMkLst>
        <pc:spChg chg="mod">
          <ac:chgData name="Clark, Connie" userId="73351e60-ad32-4085-a232-1d9f9b189479" providerId="ADAL" clId="{5F87A5E2-C2A2-4F23-BC8C-28F7F5EA6CA7}" dt="2024-05-22T23:29:11.191" v="29220" actId="20577"/>
          <ac:spMkLst>
            <pc:docMk/>
            <pc:sldMk cId="1234780969" sldId="2147376868"/>
            <ac:spMk id="3" creationId="{31EE92DA-74C0-FC51-A45C-6281B6ACF7CC}"/>
          </ac:spMkLst>
        </pc:spChg>
        <pc:spChg chg="del">
          <ac:chgData name="Clark, Connie" userId="73351e60-ad32-4085-a232-1d9f9b189479" providerId="ADAL" clId="{5F87A5E2-C2A2-4F23-BC8C-28F7F5EA6CA7}" dt="2024-05-22T23:28:20.981" v="29198" actId="478"/>
          <ac:spMkLst>
            <pc:docMk/>
            <pc:sldMk cId="1234780969" sldId="2147376868"/>
            <ac:spMk id="5" creationId="{EFFA606A-F1B9-C654-8418-8BF5C56CF0F4}"/>
          </ac:spMkLst>
        </pc:spChg>
        <pc:spChg chg="add mod">
          <ac:chgData name="Clark, Connie" userId="73351e60-ad32-4085-a232-1d9f9b189479" providerId="ADAL" clId="{5F87A5E2-C2A2-4F23-BC8C-28F7F5EA6CA7}" dt="2024-05-22T23:39:03.296" v="29572" actId="14100"/>
          <ac:spMkLst>
            <pc:docMk/>
            <pc:sldMk cId="1234780969" sldId="2147376868"/>
            <ac:spMk id="6" creationId="{D78EA304-62E2-2902-D0E2-FC73D0CE5F7B}"/>
          </ac:spMkLst>
        </pc:spChg>
        <pc:spChg chg="add mod">
          <ac:chgData name="Clark, Connie" userId="73351e60-ad32-4085-a232-1d9f9b189479" providerId="ADAL" clId="{5F87A5E2-C2A2-4F23-BC8C-28F7F5EA6CA7}" dt="2024-05-23T00:18:27.711" v="30372" actId="20577"/>
          <ac:spMkLst>
            <pc:docMk/>
            <pc:sldMk cId="1234780969" sldId="2147376868"/>
            <ac:spMk id="7" creationId="{EF3B249A-4000-DFEE-3EAD-FCC31DE0D30D}"/>
          </ac:spMkLst>
        </pc:spChg>
        <pc:spChg chg="add mod">
          <ac:chgData name="Clark, Connie" userId="73351e60-ad32-4085-a232-1d9f9b189479" providerId="ADAL" clId="{5F87A5E2-C2A2-4F23-BC8C-28F7F5EA6CA7}" dt="2024-05-22T23:35:41.904" v="29374" actId="313"/>
          <ac:spMkLst>
            <pc:docMk/>
            <pc:sldMk cId="1234780969" sldId="2147376868"/>
            <ac:spMk id="8" creationId="{EE9052C8-BA1F-B533-2DCA-C43BFEA972CE}"/>
          </ac:spMkLst>
        </pc:spChg>
        <pc:spChg chg="add mod">
          <ac:chgData name="Clark, Connie" userId="73351e60-ad32-4085-a232-1d9f9b189479" providerId="ADAL" clId="{5F87A5E2-C2A2-4F23-BC8C-28F7F5EA6CA7}" dt="2024-05-23T00:18:55.379" v="30374" actId="20577"/>
          <ac:spMkLst>
            <pc:docMk/>
            <pc:sldMk cId="1234780969" sldId="2147376868"/>
            <ac:spMk id="9" creationId="{AF802068-5E94-464D-47A0-175DF8E0257B}"/>
          </ac:spMkLst>
        </pc:spChg>
        <pc:spChg chg="add mod">
          <ac:chgData name="Clark, Connie" userId="73351e60-ad32-4085-a232-1d9f9b189479" providerId="ADAL" clId="{5F87A5E2-C2A2-4F23-BC8C-28F7F5EA6CA7}" dt="2024-05-22T23:38:05.942" v="29547" actId="313"/>
          <ac:spMkLst>
            <pc:docMk/>
            <pc:sldMk cId="1234780969" sldId="2147376868"/>
            <ac:spMk id="10" creationId="{C5F52514-0D99-DF8E-3BC9-EAFCB70FA45B}"/>
          </ac:spMkLst>
        </pc:spChg>
        <pc:spChg chg="add mod">
          <ac:chgData name="Clark, Connie" userId="73351e60-ad32-4085-a232-1d9f9b189479" providerId="ADAL" clId="{5F87A5E2-C2A2-4F23-BC8C-28F7F5EA6CA7}" dt="2024-05-22T23:38:56.769" v="29570" actId="14100"/>
          <ac:spMkLst>
            <pc:docMk/>
            <pc:sldMk cId="1234780969" sldId="2147376868"/>
            <ac:spMk id="11" creationId="{CB4BE837-1033-7194-6262-3878767947ED}"/>
          </ac:spMkLst>
        </pc:spChg>
        <pc:spChg chg="add del mod">
          <ac:chgData name="Clark, Connie" userId="73351e60-ad32-4085-a232-1d9f9b189479" providerId="ADAL" clId="{5F87A5E2-C2A2-4F23-BC8C-28F7F5EA6CA7}" dt="2024-05-22T23:38:59.724" v="29571" actId="478"/>
          <ac:spMkLst>
            <pc:docMk/>
            <pc:sldMk cId="1234780969" sldId="2147376868"/>
            <ac:spMk id="12" creationId="{B1121F76-BAB1-44EC-4ABE-AEC8B412AADE}"/>
          </ac:spMkLst>
        </pc:spChg>
        <pc:spChg chg="del">
          <ac:chgData name="Clark, Connie" userId="73351e60-ad32-4085-a232-1d9f9b189479" providerId="ADAL" clId="{5F87A5E2-C2A2-4F23-BC8C-28F7F5EA6CA7}" dt="2024-05-22T23:28:14.743" v="29197" actId="478"/>
          <ac:spMkLst>
            <pc:docMk/>
            <pc:sldMk cId="1234780969" sldId="2147376868"/>
            <ac:spMk id="33" creationId="{9AC44F1E-A3FD-C474-E304-BDB173CAE51B}"/>
          </ac:spMkLst>
        </pc:spChg>
        <pc:spChg chg="del">
          <ac:chgData name="Clark, Connie" userId="73351e60-ad32-4085-a232-1d9f9b189479" providerId="ADAL" clId="{5F87A5E2-C2A2-4F23-BC8C-28F7F5EA6CA7}" dt="2024-05-22T23:31:31.224" v="29222" actId="478"/>
          <ac:spMkLst>
            <pc:docMk/>
            <pc:sldMk cId="1234780969" sldId="2147376868"/>
            <ac:spMk id="36" creationId="{1B96D5D6-D9F7-B794-9D89-01BAB20AAA59}"/>
          </ac:spMkLst>
        </pc:spChg>
        <pc:picChg chg="add del mod">
          <ac:chgData name="Clark, Connie" userId="73351e60-ad32-4085-a232-1d9f9b189479" providerId="ADAL" clId="{5F87A5E2-C2A2-4F23-BC8C-28F7F5EA6CA7}" dt="2024-05-22T23:39:12.272" v="29575" actId="478"/>
          <ac:picMkLst>
            <pc:docMk/>
            <pc:sldMk cId="1234780969" sldId="2147376868"/>
            <ac:picMk id="4" creationId="{38BF7375-385F-1DAB-463B-48D9C20E814C}"/>
          </ac:picMkLst>
        </pc:picChg>
        <pc:picChg chg="add mod">
          <ac:chgData name="Clark, Connie" userId="73351e60-ad32-4085-a232-1d9f9b189479" providerId="ADAL" clId="{5F87A5E2-C2A2-4F23-BC8C-28F7F5EA6CA7}" dt="2024-05-22T23:39:17.806" v="29577" actId="1076"/>
          <ac:picMkLst>
            <pc:docMk/>
            <pc:sldMk cId="1234780969" sldId="2147376868"/>
            <ac:picMk id="13" creationId="{3C926055-8E16-B034-4CB1-F97AFA45AB72}"/>
          </ac:picMkLst>
        </pc:picChg>
        <pc:picChg chg="del">
          <ac:chgData name="Clark, Connie" userId="73351e60-ad32-4085-a232-1d9f9b189479" providerId="ADAL" clId="{5F87A5E2-C2A2-4F23-BC8C-28F7F5EA6CA7}" dt="2024-05-22T23:28:05.118" v="29196" actId="478"/>
          <ac:picMkLst>
            <pc:docMk/>
            <pc:sldMk cId="1234780969" sldId="2147376868"/>
            <ac:picMk id="31" creationId="{4C4FEE8E-CEB9-2637-C5D7-368E6C3A1A01}"/>
          </ac:picMkLst>
        </pc:picChg>
        <pc:picChg chg="del">
          <ac:chgData name="Clark, Connie" userId="73351e60-ad32-4085-a232-1d9f9b189479" providerId="ADAL" clId="{5F87A5E2-C2A2-4F23-BC8C-28F7F5EA6CA7}" dt="2024-05-22T23:28:14.743" v="29197" actId="478"/>
          <ac:picMkLst>
            <pc:docMk/>
            <pc:sldMk cId="1234780969" sldId="2147376868"/>
            <ac:picMk id="32" creationId="{477FC393-0351-2710-96F2-88E84B853B32}"/>
          </ac:picMkLst>
        </pc:picChg>
        <pc:picChg chg="del">
          <ac:chgData name="Clark, Connie" userId="73351e60-ad32-4085-a232-1d9f9b189479" providerId="ADAL" clId="{5F87A5E2-C2A2-4F23-BC8C-28F7F5EA6CA7}" dt="2024-05-22T23:31:34.033" v="29223" actId="478"/>
          <ac:picMkLst>
            <pc:docMk/>
            <pc:sldMk cId="1234780969" sldId="2147376868"/>
            <ac:picMk id="34" creationId="{4F6751B3-4F5B-3CEA-6569-81648E515076}"/>
          </ac:picMkLst>
        </pc:picChg>
      </pc:sldChg>
      <pc:sldChg chg="addSp delSp modSp add del mod">
        <pc:chgData name="Clark, Connie" userId="73351e60-ad32-4085-a232-1d9f9b189479" providerId="ADAL" clId="{5F87A5E2-C2A2-4F23-BC8C-28F7F5EA6CA7}" dt="2024-05-24T00:09:13.161" v="31035" actId="2696"/>
        <pc:sldMkLst>
          <pc:docMk/>
          <pc:sldMk cId="217659110" sldId="2147376869"/>
        </pc:sldMkLst>
        <pc:spChg chg="mod">
          <ac:chgData name="Clark, Connie" userId="73351e60-ad32-4085-a232-1d9f9b189479" providerId="ADAL" clId="{5F87A5E2-C2A2-4F23-BC8C-28F7F5EA6CA7}" dt="2024-05-22T23:40:15.287" v="29611" actId="20577"/>
          <ac:spMkLst>
            <pc:docMk/>
            <pc:sldMk cId="217659110" sldId="2147376869"/>
            <ac:spMk id="3" creationId="{31EE92DA-74C0-FC51-A45C-6281B6ACF7CC}"/>
          </ac:spMkLst>
        </pc:spChg>
        <pc:spChg chg="mod">
          <ac:chgData name="Clark, Connie" userId="73351e60-ad32-4085-a232-1d9f9b189479" providerId="ADAL" clId="{5F87A5E2-C2A2-4F23-BC8C-28F7F5EA6CA7}" dt="2024-05-22T23:44:21.489" v="29625" actId="14100"/>
          <ac:spMkLst>
            <pc:docMk/>
            <pc:sldMk cId="217659110" sldId="2147376869"/>
            <ac:spMk id="6" creationId="{D78EA304-62E2-2902-D0E2-FC73D0CE5F7B}"/>
          </ac:spMkLst>
        </pc:spChg>
        <pc:spChg chg="del">
          <ac:chgData name="Clark, Connie" userId="73351e60-ad32-4085-a232-1d9f9b189479" providerId="ADAL" clId="{5F87A5E2-C2A2-4F23-BC8C-28F7F5EA6CA7}" dt="2024-05-22T23:40:26.958" v="29613" actId="478"/>
          <ac:spMkLst>
            <pc:docMk/>
            <pc:sldMk cId="217659110" sldId="2147376869"/>
            <ac:spMk id="7" creationId="{EF3B249A-4000-DFEE-3EAD-FCC31DE0D30D}"/>
          </ac:spMkLst>
        </pc:spChg>
        <pc:spChg chg="del">
          <ac:chgData name="Clark, Connie" userId="73351e60-ad32-4085-a232-1d9f9b189479" providerId="ADAL" clId="{5F87A5E2-C2A2-4F23-BC8C-28F7F5EA6CA7}" dt="2024-05-22T23:40:26.958" v="29613" actId="478"/>
          <ac:spMkLst>
            <pc:docMk/>
            <pc:sldMk cId="217659110" sldId="2147376869"/>
            <ac:spMk id="8" creationId="{EE9052C8-BA1F-B533-2DCA-C43BFEA972CE}"/>
          </ac:spMkLst>
        </pc:spChg>
        <pc:spChg chg="del">
          <ac:chgData name="Clark, Connie" userId="73351e60-ad32-4085-a232-1d9f9b189479" providerId="ADAL" clId="{5F87A5E2-C2A2-4F23-BC8C-28F7F5EA6CA7}" dt="2024-05-22T23:40:26.958" v="29613" actId="478"/>
          <ac:spMkLst>
            <pc:docMk/>
            <pc:sldMk cId="217659110" sldId="2147376869"/>
            <ac:spMk id="9" creationId="{AF802068-5E94-464D-47A0-175DF8E0257B}"/>
          </ac:spMkLst>
        </pc:spChg>
        <pc:spChg chg="del">
          <ac:chgData name="Clark, Connie" userId="73351e60-ad32-4085-a232-1d9f9b189479" providerId="ADAL" clId="{5F87A5E2-C2A2-4F23-BC8C-28F7F5EA6CA7}" dt="2024-05-22T23:40:26.958" v="29613" actId="478"/>
          <ac:spMkLst>
            <pc:docMk/>
            <pc:sldMk cId="217659110" sldId="2147376869"/>
            <ac:spMk id="10" creationId="{C5F52514-0D99-DF8E-3BC9-EAFCB70FA45B}"/>
          </ac:spMkLst>
        </pc:spChg>
        <pc:spChg chg="del">
          <ac:chgData name="Clark, Connie" userId="73351e60-ad32-4085-a232-1d9f9b189479" providerId="ADAL" clId="{5F87A5E2-C2A2-4F23-BC8C-28F7F5EA6CA7}" dt="2024-05-22T23:40:21.116" v="29612" actId="478"/>
          <ac:spMkLst>
            <pc:docMk/>
            <pc:sldMk cId="217659110" sldId="2147376869"/>
            <ac:spMk id="11" creationId="{CB4BE837-1033-7194-6262-3878767947ED}"/>
          </ac:spMkLst>
        </pc:spChg>
        <pc:spChg chg="add mod">
          <ac:chgData name="Clark, Connie" userId="73351e60-ad32-4085-a232-1d9f9b189479" providerId="ADAL" clId="{5F87A5E2-C2A2-4F23-BC8C-28F7F5EA6CA7}" dt="2024-05-23T00:12:21.666" v="30347" actId="1076"/>
          <ac:spMkLst>
            <pc:docMk/>
            <pc:sldMk cId="217659110" sldId="2147376869"/>
            <ac:spMk id="14" creationId="{6CA340D6-A8EC-B6BA-B7C9-8D0D5FD2174F}"/>
          </ac:spMkLst>
        </pc:spChg>
        <pc:spChg chg="add del mod">
          <ac:chgData name="Clark, Connie" userId="73351e60-ad32-4085-a232-1d9f9b189479" providerId="ADAL" clId="{5F87A5E2-C2A2-4F23-BC8C-28F7F5EA6CA7}" dt="2024-05-23T00:00:41.102" v="30012" actId="478"/>
          <ac:spMkLst>
            <pc:docMk/>
            <pc:sldMk cId="217659110" sldId="2147376869"/>
            <ac:spMk id="16" creationId="{26A4371E-38D6-CDF1-1A07-09C97E63A5ED}"/>
          </ac:spMkLst>
        </pc:spChg>
        <pc:spChg chg="add del mod">
          <ac:chgData name="Clark, Connie" userId="73351e60-ad32-4085-a232-1d9f9b189479" providerId="ADAL" clId="{5F87A5E2-C2A2-4F23-BC8C-28F7F5EA6CA7}" dt="2024-05-23T00:11:27.883" v="30339"/>
          <ac:spMkLst>
            <pc:docMk/>
            <pc:sldMk cId="217659110" sldId="2147376869"/>
            <ac:spMk id="19" creationId="{ED945E02-B101-BE55-9660-FDB868CFE0F6}"/>
          </ac:spMkLst>
        </pc:spChg>
        <pc:spChg chg="add mod">
          <ac:chgData name="Clark, Connie" userId="73351e60-ad32-4085-a232-1d9f9b189479" providerId="ADAL" clId="{5F87A5E2-C2A2-4F23-BC8C-28F7F5EA6CA7}" dt="2024-05-23T00:17:32.556" v="30368" actId="14100"/>
          <ac:spMkLst>
            <pc:docMk/>
            <pc:sldMk cId="217659110" sldId="2147376869"/>
            <ac:spMk id="21" creationId="{251A54C2-2D13-C098-FF2B-AA09044F8140}"/>
          </ac:spMkLst>
        </pc:spChg>
        <pc:spChg chg="add mod">
          <ac:chgData name="Clark, Connie" userId="73351e60-ad32-4085-a232-1d9f9b189479" providerId="ADAL" clId="{5F87A5E2-C2A2-4F23-BC8C-28F7F5EA6CA7}" dt="2024-05-23T00:17:22.066" v="30365" actId="255"/>
          <ac:spMkLst>
            <pc:docMk/>
            <pc:sldMk cId="217659110" sldId="2147376869"/>
            <ac:spMk id="22" creationId="{0218EA5A-7C21-8435-AB1A-4AF616723ED6}"/>
          </ac:spMkLst>
        </pc:spChg>
        <pc:picChg chg="add mod">
          <ac:chgData name="Clark, Connie" userId="73351e60-ad32-4085-a232-1d9f9b189479" providerId="ADAL" clId="{5F87A5E2-C2A2-4F23-BC8C-28F7F5EA6CA7}" dt="2024-05-23T00:13:14.172" v="30350" actId="1076"/>
          <ac:picMkLst>
            <pc:docMk/>
            <pc:sldMk cId="217659110" sldId="2147376869"/>
            <ac:picMk id="5" creationId="{DBFE3612-CA96-625C-3A03-E0988A0FB296}"/>
          </ac:picMkLst>
        </pc:picChg>
        <pc:picChg chg="add del mod">
          <ac:chgData name="Clark, Connie" userId="73351e60-ad32-4085-a232-1d9f9b189479" providerId="ADAL" clId="{5F87A5E2-C2A2-4F23-BC8C-28F7F5EA6CA7}" dt="2024-05-23T00:06:42.046" v="30279" actId="478"/>
          <ac:picMkLst>
            <pc:docMk/>
            <pc:sldMk cId="217659110" sldId="2147376869"/>
            <ac:picMk id="18" creationId="{43A053BC-992A-5520-2D22-4267801DDC19}"/>
          </ac:picMkLst>
        </pc:picChg>
        <pc:picChg chg="add del mod">
          <ac:chgData name="Clark, Connie" userId="73351e60-ad32-4085-a232-1d9f9b189479" providerId="ADAL" clId="{5F87A5E2-C2A2-4F23-BC8C-28F7F5EA6CA7}" dt="2024-05-23T00:11:31.636" v="30342" actId="478"/>
          <ac:picMkLst>
            <pc:docMk/>
            <pc:sldMk cId="217659110" sldId="2147376869"/>
            <ac:picMk id="20" creationId="{6BCCE105-49CD-3E8E-9C4B-8C1FEB9ACD84}"/>
          </ac:picMkLst>
        </pc:picChg>
        <pc:picChg chg="add mod">
          <ac:chgData name="Clark, Connie" userId="73351e60-ad32-4085-a232-1d9f9b189479" providerId="ADAL" clId="{5F87A5E2-C2A2-4F23-BC8C-28F7F5EA6CA7}" dt="2024-05-23T00:16:38.735" v="30364" actId="1440"/>
          <ac:picMkLst>
            <pc:docMk/>
            <pc:sldMk cId="217659110" sldId="2147376869"/>
            <ac:picMk id="24" creationId="{5BEC614C-F963-C2F5-8923-E675FA524C1F}"/>
          </ac:picMkLst>
        </pc:picChg>
        <pc:picChg chg="add del">
          <ac:chgData name="Clark, Connie" userId="73351e60-ad32-4085-a232-1d9f9b189479" providerId="ADAL" clId="{5F87A5E2-C2A2-4F23-BC8C-28F7F5EA6CA7}" dt="2024-05-23T00:20:07.562" v="30376" actId="22"/>
          <ac:picMkLst>
            <pc:docMk/>
            <pc:sldMk cId="217659110" sldId="2147376869"/>
            <ac:picMk id="26" creationId="{65E45CFB-4B9D-E705-6443-9540B0B52961}"/>
          </ac:picMkLst>
        </pc:picChg>
        <pc:picChg chg="add mod">
          <ac:chgData name="Clark, Connie" userId="73351e60-ad32-4085-a232-1d9f9b189479" providerId="ADAL" clId="{5F87A5E2-C2A2-4F23-BC8C-28F7F5EA6CA7}" dt="2024-05-23T00:37:36.388" v="30986" actId="1076"/>
          <ac:picMkLst>
            <pc:docMk/>
            <pc:sldMk cId="217659110" sldId="2147376869"/>
            <ac:picMk id="28" creationId="{49469896-128D-CEFB-E7BE-9F841ED83D58}"/>
          </ac:picMkLst>
        </pc:picChg>
      </pc:sldChg>
      <pc:sldChg chg="addSp delSp modSp add del mod">
        <pc:chgData name="Clark, Connie" userId="73351e60-ad32-4085-a232-1d9f9b189479" providerId="ADAL" clId="{5F87A5E2-C2A2-4F23-BC8C-28F7F5EA6CA7}" dt="2024-05-24T00:09:13.161" v="31035" actId="2696"/>
        <pc:sldMkLst>
          <pc:docMk/>
          <pc:sldMk cId="2773044605" sldId="2147376870"/>
        </pc:sldMkLst>
        <pc:spChg chg="mod">
          <ac:chgData name="Clark, Connie" userId="73351e60-ad32-4085-a232-1d9f9b189479" providerId="ADAL" clId="{5F87A5E2-C2A2-4F23-BC8C-28F7F5EA6CA7}" dt="2024-05-23T00:20:36.213" v="30385" actId="20577"/>
          <ac:spMkLst>
            <pc:docMk/>
            <pc:sldMk cId="2773044605" sldId="2147376870"/>
            <ac:spMk id="3" creationId="{31EE92DA-74C0-FC51-A45C-6281B6ACF7CC}"/>
          </ac:spMkLst>
        </pc:spChg>
        <pc:spChg chg="mod">
          <ac:chgData name="Clark, Connie" userId="73351e60-ad32-4085-a232-1d9f9b189479" providerId="ADAL" clId="{5F87A5E2-C2A2-4F23-BC8C-28F7F5EA6CA7}" dt="2024-05-23T00:29:56.333" v="30980" actId="122"/>
          <ac:spMkLst>
            <pc:docMk/>
            <pc:sldMk cId="2773044605" sldId="2147376870"/>
            <ac:spMk id="6" creationId="{D78EA304-62E2-2902-D0E2-FC73D0CE5F7B}"/>
          </ac:spMkLst>
        </pc:spChg>
        <pc:spChg chg="del">
          <ac:chgData name="Clark, Connie" userId="73351e60-ad32-4085-a232-1d9f9b189479" providerId="ADAL" clId="{5F87A5E2-C2A2-4F23-BC8C-28F7F5EA6CA7}" dt="2024-05-23T00:20:46.069" v="30387" actId="478"/>
          <ac:spMkLst>
            <pc:docMk/>
            <pc:sldMk cId="2773044605" sldId="2147376870"/>
            <ac:spMk id="7" creationId="{EF3B249A-4000-DFEE-3EAD-FCC31DE0D30D}"/>
          </ac:spMkLst>
        </pc:spChg>
        <pc:spChg chg="del">
          <ac:chgData name="Clark, Connie" userId="73351e60-ad32-4085-a232-1d9f9b189479" providerId="ADAL" clId="{5F87A5E2-C2A2-4F23-BC8C-28F7F5EA6CA7}" dt="2024-05-23T00:20:46.069" v="30387" actId="478"/>
          <ac:spMkLst>
            <pc:docMk/>
            <pc:sldMk cId="2773044605" sldId="2147376870"/>
            <ac:spMk id="8" creationId="{EE9052C8-BA1F-B533-2DCA-C43BFEA972CE}"/>
          </ac:spMkLst>
        </pc:spChg>
        <pc:spChg chg="del">
          <ac:chgData name="Clark, Connie" userId="73351e60-ad32-4085-a232-1d9f9b189479" providerId="ADAL" clId="{5F87A5E2-C2A2-4F23-BC8C-28F7F5EA6CA7}" dt="2024-05-23T00:20:46.069" v="30387" actId="478"/>
          <ac:spMkLst>
            <pc:docMk/>
            <pc:sldMk cId="2773044605" sldId="2147376870"/>
            <ac:spMk id="9" creationId="{AF802068-5E94-464D-47A0-175DF8E0257B}"/>
          </ac:spMkLst>
        </pc:spChg>
        <pc:spChg chg="del">
          <ac:chgData name="Clark, Connie" userId="73351e60-ad32-4085-a232-1d9f9b189479" providerId="ADAL" clId="{5F87A5E2-C2A2-4F23-BC8C-28F7F5EA6CA7}" dt="2024-05-23T00:20:46.069" v="30387" actId="478"/>
          <ac:spMkLst>
            <pc:docMk/>
            <pc:sldMk cId="2773044605" sldId="2147376870"/>
            <ac:spMk id="10" creationId="{C5F52514-0D99-DF8E-3BC9-EAFCB70FA45B}"/>
          </ac:spMkLst>
        </pc:spChg>
        <pc:spChg chg="del">
          <ac:chgData name="Clark, Connie" userId="73351e60-ad32-4085-a232-1d9f9b189479" providerId="ADAL" clId="{5F87A5E2-C2A2-4F23-BC8C-28F7F5EA6CA7}" dt="2024-05-23T00:20:41.370" v="30386" actId="478"/>
          <ac:spMkLst>
            <pc:docMk/>
            <pc:sldMk cId="2773044605" sldId="2147376870"/>
            <ac:spMk id="11" creationId="{CB4BE837-1033-7194-6262-3878767947ED}"/>
          </ac:spMkLst>
        </pc:spChg>
        <pc:picChg chg="add del">
          <ac:chgData name="Clark, Connie" userId="73351e60-ad32-4085-a232-1d9f9b189479" providerId="ADAL" clId="{5F87A5E2-C2A2-4F23-BC8C-28F7F5EA6CA7}" dt="2024-05-23T02:28:20.702" v="30998" actId="478"/>
          <ac:picMkLst>
            <pc:docMk/>
            <pc:sldMk cId="2773044605" sldId="2147376870"/>
            <ac:picMk id="5" creationId="{976FCDAA-F553-AE17-D226-0371487C6134}"/>
          </ac:picMkLst>
        </pc:picChg>
      </pc:sldChg>
      <pc:sldChg chg="addSp delSp modSp add del mod ord">
        <pc:chgData name="Clark, Connie" userId="73351e60-ad32-4085-a232-1d9f9b189479" providerId="ADAL" clId="{5F87A5E2-C2A2-4F23-BC8C-28F7F5EA6CA7}" dt="2024-05-24T00:09:13.161" v="31035" actId="2696"/>
        <pc:sldMkLst>
          <pc:docMk/>
          <pc:sldMk cId="3787875678" sldId="2147376871"/>
        </pc:sldMkLst>
        <pc:spChg chg="mod">
          <ac:chgData name="Clark, Connie" userId="73351e60-ad32-4085-a232-1d9f9b189479" providerId="ADAL" clId="{5F87A5E2-C2A2-4F23-BC8C-28F7F5EA6CA7}" dt="2024-05-23T02:28:09.627" v="30993" actId="20577"/>
          <ac:spMkLst>
            <pc:docMk/>
            <pc:sldMk cId="3787875678" sldId="2147376871"/>
            <ac:spMk id="3" creationId="{31EE92DA-74C0-FC51-A45C-6281B6ACF7CC}"/>
          </ac:spMkLst>
        </pc:spChg>
        <pc:spChg chg="del mod">
          <ac:chgData name="Clark, Connie" userId="73351e60-ad32-4085-a232-1d9f9b189479" providerId="ADAL" clId="{5F87A5E2-C2A2-4F23-BC8C-28F7F5EA6CA7}" dt="2024-05-23T02:28:14.767" v="30996"/>
          <ac:spMkLst>
            <pc:docMk/>
            <pc:sldMk cId="3787875678" sldId="2147376871"/>
            <ac:spMk id="5" creationId="{EFFA606A-F1B9-C654-8418-8BF5C56CF0F4}"/>
          </ac:spMkLst>
        </pc:spChg>
        <pc:spChg chg="del">
          <ac:chgData name="Clark, Connie" userId="73351e60-ad32-4085-a232-1d9f9b189479" providerId="ADAL" clId="{5F87A5E2-C2A2-4F23-BC8C-28F7F5EA6CA7}" dt="2024-05-23T02:28:16.283" v="30997" actId="478"/>
          <ac:spMkLst>
            <pc:docMk/>
            <pc:sldMk cId="3787875678" sldId="2147376871"/>
            <ac:spMk id="33" creationId="{9AC44F1E-A3FD-C474-E304-BDB173CAE51B}"/>
          </ac:spMkLst>
        </pc:spChg>
        <pc:spChg chg="del">
          <ac:chgData name="Clark, Connie" userId="73351e60-ad32-4085-a232-1d9f9b189479" providerId="ADAL" clId="{5F87A5E2-C2A2-4F23-BC8C-28F7F5EA6CA7}" dt="2024-05-23T02:28:29.852" v="31000" actId="478"/>
          <ac:spMkLst>
            <pc:docMk/>
            <pc:sldMk cId="3787875678" sldId="2147376871"/>
            <ac:spMk id="35" creationId="{45C0B5FA-48D0-EBF7-B7DE-0ADBD853D787}"/>
          </ac:spMkLst>
        </pc:spChg>
        <pc:spChg chg="del">
          <ac:chgData name="Clark, Connie" userId="73351e60-ad32-4085-a232-1d9f9b189479" providerId="ADAL" clId="{5F87A5E2-C2A2-4F23-BC8C-28F7F5EA6CA7}" dt="2024-05-23T02:28:29.852" v="31000" actId="478"/>
          <ac:spMkLst>
            <pc:docMk/>
            <pc:sldMk cId="3787875678" sldId="2147376871"/>
            <ac:spMk id="36" creationId="{1B96D5D6-D9F7-B794-9D89-01BAB20AAA59}"/>
          </ac:spMkLst>
        </pc:spChg>
        <pc:picChg chg="add mod">
          <ac:chgData name="Clark, Connie" userId="73351e60-ad32-4085-a232-1d9f9b189479" providerId="ADAL" clId="{5F87A5E2-C2A2-4F23-BC8C-28F7F5EA6CA7}" dt="2024-05-23T02:28:32.076" v="31001" actId="1076"/>
          <ac:picMkLst>
            <pc:docMk/>
            <pc:sldMk cId="3787875678" sldId="2147376871"/>
            <ac:picMk id="4" creationId="{C908AAE0-EC3F-0EF3-5A16-02F27D4FC2DB}"/>
          </ac:picMkLst>
        </pc:picChg>
        <pc:picChg chg="del">
          <ac:chgData name="Clark, Connie" userId="73351e60-ad32-4085-a232-1d9f9b189479" providerId="ADAL" clId="{5F87A5E2-C2A2-4F23-BC8C-28F7F5EA6CA7}" dt="2024-05-23T02:28:16.283" v="30997" actId="478"/>
          <ac:picMkLst>
            <pc:docMk/>
            <pc:sldMk cId="3787875678" sldId="2147376871"/>
            <ac:picMk id="32" creationId="{477FC393-0351-2710-96F2-88E84B853B32}"/>
          </ac:picMkLst>
        </pc:picChg>
        <pc:picChg chg="del">
          <ac:chgData name="Clark, Connie" userId="73351e60-ad32-4085-a232-1d9f9b189479" providerId="ADAL" clId="{5F87A5E2-C2A2-4F23-BC8C-28F7F5EA6CA7}" dt="2024-05-23T02:28:29.852" v="31000" actId="478"/>
          <ac:picMkLst>
            <pc:docMk/>
            <pc:sldMk cId="3787875678" sldId="2147376871"/>
            <ac:picMk id="34" creationId="{4F6751B3-4F5B-3CEA-6569-81648E515076}"/>
          </ac:picMkLst>
        </pc:picChg>
      </pc:sldChg>
      <pc:sldMasterChg chg="delSldLayout">
        <pc:chgData name="Clark, Connie" userId="73351e60-ad32-4085-a232-1d9f9b189479" providerId="ADAL" clId="{5F87A5E2-C2A2-4F23-BC8C-28F7F5EA6CA7}" dt="2024-05-23T23:56:22.729" v="31004" actId="47"/>
        <pc:sldMasterMkLst>
          <pc:docMk/>
          <pc:sldMasterMk cId="1125579174" sldId="2147483660"/>
        </pc:sldMasterMkLst>
        <pc:sldLayoutChg chg="del">
          <pc:chgData name="Clark, Connie" userId="73351e60-ad32-4085-a232-1d9f9b189479" providerId="ADAL" clId="{5F87A5E2-C2A2-4F23-BC8C-28F7F5EA6CA7}" dt="2024-05-23T23:56:22.729" v="31004" actId="47"/>
          <pc:sldLayoutMkLst>
            <pc:docMk/>
            <pc:sldMasterMk cId="1125579174" sldId="2147483660"/>
            <pc:sldLayoutMk cId="4264062678" sldId="2147483675"/>
          </pc:sldLayoutMkLst>
        </pc:sldLayoutChg>
      </pc:sldMasterChg>
      <pc:sldMasterChg chg="del delSldLayout">
        <pc:chgData name="Clark, Connie" userId="73351e60-ad32-4085-a232-1d9f9b189479" providerId="ADAL" clId="{5F87A5E2-C2A2-4F23-BC8C-28F7F5EA6CA7}" dt="2024-03-24T23:58:04.367" v="0" actId="47"/>
        <pc:sldMasterMkLst>
          <pc:docMk/>
          <pc:sldMasterMk cId="3569416436" sldId="2147483680"/>
        </pc:sldMasterMkLst>
        <pc:sldLayoutChg chg="del">
          <pc:chgData name="Clark, Connie" userId="73351e60-ad32-4085-a232-1d9f9b189479" providerId="ADAL" clId="{5F87A5E2-C2A2-4F23-BC8C-28F7F5EA6CA7}" dt="2024-03-24T23:58:04.367" v="0" actId="47"/>
          <pc:sldLayoutMkLst>
            <pc:docMk/>
            <pc:sldMasterMk cId="3569416436" sldId="2147483680"/>
            <pc:sldLayoutMk cId="3758332845" sldId="2147483681"/>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1656767725" sldId="2147483682"/>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3690359813" sldId="2147483683"/>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580535073" sldId="2147483684"/>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397705145" sldId="2147483685"/>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1796220262" sldId="2147483686"/>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2194711525" sldId="2147483687"/>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2892341227" sldId="2147483688"/>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1069984397" sldId="2147483689"/>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2348890000" sldId="2147483690"/>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3623802586" sldId="2147483691"/>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826656337" sldId="2147483692"/>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3356530861" sldId="2147483693"/>
          </pc:sldLayoutMkLst>
        </pc:sldLayoutChg>
        <pc:sldLayoutChg chg="del">
          <pc:chgData name="Clark, Connie" userId="73351e60-ad32-4085-a232-1d9f9b189479" providerId="ADAL" clId="{5F87A5E2-C2A2-4F23-BC8C-28F7F5EA6CA7}" dt="2024-03-24T23:58:04.367" v="0" actId="47"/>
          <pc:sldLayoutMkLst>
            <pc:docMk/>
            <pc:sldMasterMk cId="3569416436" sldId="2147483680"/>
            <pc:sldLayoutMk cId="3155487203" sldId="2147483694"/>
          </pc:sldLayoutMkLst>
        </pc:sldLayoutChg>
      </pc:sldMasterChg>
    </pc:docChg>
  </pc:docChgLst>
</pc:chgInfo>
</file>

<file path=ppt/diagrams/_rels/data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image" Target="../media/image39.png"/></Relationships>
</file>

<file path=ppt/diagrams/_rels/drawing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image" Target="../media/image3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6DE45A-9A35-4F83-B59C-17B42F1F750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7A0B307-C117-43A8-A82F-4ACF21A759D1}">
      <dgm:prSet phldrT="[Text]" custT="1"/>
      <dgm:spPr>
        <a:xfrm>
          <a:off x="377988" y="249490"/>
          <a:ext cx="4523255" cy="499299"/>
        </a:xfrm>
        <a:prstGeom prst="rect">
          <a:avLst/>
        </a:prstGeom>
        <a:solidFill>
          <a:srgbClr val="10069F"/>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sz="1800" b="1" i="0" dirty="0">
              <a:solidFill>
                <a:schemeClr val="bg1">
                  <a:lumMod val="95000"/>
                </a:schemeClr>
              </a:solidFill>
              <a:effectLst/>
              <a:latin typeface="-apple-system"/>
            </a:rPr>
            <a:t>Influencia y Motivación</a:t>
          </a:r>
          <a:endParaRPr lang="en-US" sz="1800" b="1" dirty="0">
            <a:solidFill>
              <a:schemeClr val="bg1">
                <a:lumMod val="95000"/>
              </a:schemeClr>
            </a:solidFill>
            <a:latin typeface="Arial" panose="020B0604020202020204" pitchFamily="34" charset="0"/>
            <a:ea typeface="+mn-ea"/>
            <a:cs typeface="Arial" panose="020B0604020202020204" pitchFamily="34" charset="0"/>
          </a:endParaRPr>
        </a:p>
      </dgm:t>
    </dgm:pt>
    <dgm:pt modelId="{4B551427-8737-4D62-8FF8-108875062414}" type="parTrans" cxnId="{6BC9D7C2-5E17-46B6-B25D-C5E4C9B7CE7E}">
      <dgm:prSet/>
      <dgm:spPr/>
      <dgm:t>
        <a:bodyPr/>
        <a:lstStyle/>
        <a:p>
          <a:endParaRPr lang="en-US" sz="1800" b="1">
            <a:solidFill>
              <a:schemeClr val="bg1">
                <a:lumMod val="95000"/>
              </a:schemeClr>
            </a:solidFill>
            <a:latin typeface="Arial" panose="020B0604020202020204" pitchFamily="34" charset="0"/>
            <a:cs typeface="Arial" panose="020B0604020202020204" pitchFamily="34" charset="0"/>
          </a:endParaRPr>
        </a:p>
      </dgm:t>
    </dgm:pt>
    <dgm:pt modelId="{4AB34915-8D20-4528-857A-F1E1EC62CFFC}" type="sibTrans" cxnId="{6BC9D7C2-5E17-46B6-B25D-C5E4C9B7CE7E}">
      <dgm:prSet/>
      <dgm:spPr>
        <a:xfrm>
          <a:off x="-4514143" y="-692216"/>
          <a:ext cx="5377553" cy="5377553"/>
        </a:xfrm>
        <a:prstGeom prst="blockArc">
          <a:avLst>
            <a:gd name="adj1" fmla="val 18900000"/>
            <a:gd name="adj2" fmla="val 2700000"/>
            <a:gd name="adj3" fmla="val 402"/>
          </a:avLst>
        </a:prstGeom>
        <a:noFill/>
        <a:ln w="12700" cap="flat" cmpd="sng" algn="ctr">
          <a:solidFill>
            <a:srgbClr val="10069F">
              <a:shade val="60000"/>
              <a:hueOff val="0"/>
              <a:satOff val="0"/>
              <a:lumOff val="0"/>
              <a:alphaOff val="0"/>
            </a:srgbClr>
          </a:solidFill>
          <a:prstDash val="solid"/>
          <a:miter lim="800000"/>
        </a:ln>
        <a:effectLst/>
      </dgm:spPr>
      <dgm:t>
        <a:bodyPr/>
        <a:lstStyle/>
        <a:p>
          <a:endParaRPr lang="en-US" sz="1800" b="1">
            <a:solidFill>
              <a:schemeClr val="bg1">
                <a:lumMod val="95000"/>
              </a:schemeClr>
            </a:solidFill>
            <a:latin typeface="Arial" panose="020B0604020202020204" pitchFamily="34" charset="0"/>
            <a:cs typeface="Arial" panose="020B0604020202020204" pitchFamily="34" charset="0"/>
          </a:endParaRPr>
        </a:p>
      </dgm:t>
    </dgm:pt>
    <dgm:pt modelId="{F5AC8656-0E58-45F0-9424-3B9D4E8A4BCB}">
      <dgm:prSet phldrT="[Text]" custT="1"/>
      <dgm:spPr>
        <a:xfrm>
          <a:off x="845582" y="1746910"/>
          <a:ext cx="4055661" cy="499299"/>
        </a:xfrm>
        <a:prstGeom prst="rect">
          <a:avLst/>
        </a:prstGeom>
        <a:solidFill>
          <a:srgbClr val="10069F"/>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sz="1800" b="1" i="0" dirty="0">
              <a:solidFill>
                <a:schemeClr val="bg1">
                  <a:lumMod val="95000"/>
                </a:schemeClr>
              </a:solidFill>
              <a:effectLst/>
              <a:latin typeface="-apple-system"/>
            </a:rPr>
            <a:t>Comunicación de la  Transformación o Cambio  de manera Asertiva Positiva y Solida</a:t>
          </a:r>
          <a:endParaRPr lang="en-US" sz="1800" b="1" dirty="0">
            <a:solidFill>
              <a:schemeClr val="bg1">
                <a:lumMod val="95000"/>
              </a:schemeClr>
            </a:solidFill>
            <a:latin typeface="Arial" panose="020B0604020202020204" pitchFamily="34" charset="0"/>
            <a:ea typeface="+mn-ea"/>
            <a:cs typeface="Arial" panose="020B0604020202020204" pitchFamily="34" charset="0"/>
          </a:endParaRPr>
        </a:p>
      </dgm:t>
    </dgm:pt>
    <dgm:pt modelId="{234E3E93-2D06-4566-A68E-E74545BEFF37}" type="parTrans" cxnId="{D50BD83D-351C-49C2-82CE-F26BC52B3109}">
      <dgm:prSet/>
      <dgm:spPr/>
      <dgm:t>
        <a:bodyPr/>
        <a:lstStyle/>
        <a:p>
          <a:endParaRPr lang="en-US" sz="1800" b="1">
            <a:solidFill>
              <a:schemeClr val="bg1">
                <a:lumMod val="95000"/>
              </a:schemeClr>
            </a:solidFill>
            <a:latin typeface="Arial" panose="020B0604020202020204" pitchFamily="34" charset="0"/>
            <a:cs typeface="Arial" panose="020B0604020202020204" pitchFamily="34" charset="0"/>
          </a:endParaRPr>
        </a:p>
      </dgm:t>
    </dgm:pt>
    <dgm:pt modelId="{073273A6-F27D-455A-8E60-521BD4AEC9AB}" type="sibTrans" cxnId="{D50BD83D-351C-49C2-82CE-F26BC52B3109}">
      <dgm:prSet/>
      <dgm:spPr/>
      <dgm:t>
        <a:bodyPr/>
        <a:lstStyle/>
        <a:p>
          <a:endParaRPr lang="en-US" sz="1800" b="1">
            <a:solidFill>
              <a:schemeClr val="bg1">
                <a:lumMod val="95000"/>
              </a:schemeClr>
            </a:solidFill>
            <a:latin typeface="Arial" panose="020B0604020202020204" pitchFamily="34" charset="0"/>
            <a:cs typeface="Arial" panose="020B0604020202020204" pitchFamily="34" charset="0"/>
          </a:endParaRPr>
        </a:p>
      </dgm:t>
    </dgm:pt>
    <dgm:pt modelId="{A9EC9AF1-0577-46F6-A108-6DB536331303}">
      <dgm:prSet phldrT="[Text]" custT="1"/>
      <dgm:spPr>
        <a:xfrm>
          <a:off x="735772" y="2411053"/>
          <a:ext cx="4165471" cy="668432"/>
        </a:xfrm>
        <a:prstGeom prst="rect">
          <a:avLst/>
        </a:prstGeom>
        <a:solidFill>
          <a:srgbClr val="10069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sz="1800" b="1" dirty="0">
              <a:solidFill>
                <a:schemeClr val="bg1">
                  <a:lumMod val="95000"/>
                </a:schemeClr>
              </a:solidFill>
              <a:latin typeface="-apple-system"/>
            </a:rPr>
            <a:t>Entorno Colaborativo, inclusivo y diverso</a:t>
          </a:r>
          <a:endParaRPr kumimoji="0" lang="en-US" sz="1800" b="1" i="0" u="none" strike="noStrike" cap="none" spc="0" normalizeH="0" baseline="0" noProof="0" dirty="0">
            <a:ln>
              <a:noFill/>
            </a:ln>
            <a:solidFill>
              <a:schemeClr val="bg1">
                <a:lumMod val="95000"/>
              </a:schemeClr>
            </a:solidFill>
            <a:effectLst/>
            <a:uLnTx/>
            <a:uFillTx/>
            <a:latin typeface="Arial" panose="020B0604020202020204"/>
            <a:ea typeface="+mn-ea"/>
            <a:cs typeface="Aldhabi" panose="020B0604020202020204" pitchFamily="2" charset="-78"/>
          </a:endParaRPr>
        </a:p>
      </dgm:t>
    </dgm:pt>
    <dgm:pt modelId="{86397E2A-8116-4136-A723-AA15AFE0128A}" type="parTrans" cxnId="{24F5E0B7-6D8A-40B6-A71C-8C11D1460AC2}">
      <dgm:prSet/>
      <dgm:spPr/>
      <dgm:t>
        <a:bodyPr/>
        <a:lstStyle/>
        <a:p>
          <a:endParaRPr lang="en-US" sz="1800" b="1">
            <a:solidFill>
              <a:schemeClr val="bg1">
                <a:lumMod val="95000"/>
              </a:schemeClr>
            </a:solidFill>
            <a:latin typeface="Arial" panose="020B0604020202020204" pitchFamily="34" charset="0"/>
            <a:cs typeface="Arial" panose="020B0604020202020204" pitchFamily="34" charset="0"/>
          </a:endParaRPr>
        </a:p>
      </dgm:t>
    </dgm:pt>
    <dgm:pt modelId="{F28CDB61-FC18-4967-A2E6-1016841EC919}" type="sibTrans" cxnId="{24F5E0B7-6D8A-40B6-A71C-8C11D1460AC2}">
      <dgm:prSet/>
      <dgm:spPr/>
      <dgm:t>
        <a:bodyPr/>
        <a:lstStyle/>
        <a:p>
          <a:endParaRPr lang="en-US" sz="1800" b="1">
            <a:solidFill>
              <a:schemeClr val="bg1">
                <a:lumMod val="95000"/>
              </a:schemeClr>
            </a:solidFill>
            <a:latin typeface="Arial" panose="020B0604020202020204" pitchFamily="34" charset="0"/>
            <a:cs typeface="Arial" panose="020B0604020202020204" pitchFamily="34" charset="0"/>
          </a:endParaRPr>
        </a:p>
      </dgm:t>
    </dgm:pt>
    <dgm:pt modelId="{7AC982CD-3D25-49C0-A168-45F8A569020F}">
      <dgm:prSet phldrT="[Text]" custT="1"/>
      <dgm:spPr>
        <a:xfrm>
          <a:off x="377988" y="3244330"/>
          <a:ext cx="4523255" cy="499299"/>
        </a:xfrm>
        <a:prstGeom prst="rect">
          <a:avLst/>
        </a:prstGeom>
        <a:solidFill>
          <a:srgbClr val="10069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sz="1800" b="1" i="0" dirty="0">
              <a:solidFill>
                <a:schemeClr val="bg1">
                  <a:lumMod val="95000"/>
                </a:schemeClr>
              </a:solidFill>
              <a:effectLst/>
              <a:latin typeface="-apple-system"/>
            </a:rPr>
            <a:t>Productividad</a:t>
          </a:r>
          <a:r>
            <a:rPr lang="es-ES" sz="1800" b="1" dirty="0">
              <a:solidFill>
                <a:schemeClr val="bg1">
                  <a:lumMod val="95000"/>
                </a:schemeClr>
              </a:solidFill>
              <a:latin typeface="-apple-system"/>
            </a:rPr>
            <a:t>  y Rendimiento Full </a:t>
          </a:r>
          <a:r>
            <a:rPr lang="es-ES" sz="1800" b="1" dirty="0" err="1">
              <a:solidFill>
                <a:schemeClr val="bg1">
                  <a:lumMod val="95000"/>
                </a:schemeClr>
              </a:solidFill>
              <a:latin typeface="-apple-system"/>
            </a:rPr>
            <a:t>Potential</a:t>
          </a:r>
          <a:endParaRPr lang="en-US" sz="1800" b="1" dirty="0">
            <a:solidFill>
              <a:schemeClr val="bg1">
                <a:lumMod val="95000"/>
              </a:schemeClr>
            </a:solidFill>
            <a:latin typeface="Arial" panose="020B0604020202020204" pitchFamily="34" charset="0"/>
            <a:ea typeface="+mn-ea"/>
            <a:cs typeface="Arial" panose="020B0604020202020204" pitchFamily="34" charset="0"/>
          </a:endParaRPr>
        </a:p>
      </dgm:t>
    </dgm:pt>
    <dgm:pt modelId="{E6F9C343-05EE-4977-9FF9-96D7EDC73C6A}" type="parTrans" cxnId="{4B077024-D51D-445A-9E5E-8599FD64457E}">
      <dgm:prSet/>
      <dgm:spPr/>
      <dgm:t>
        <a:bodyPr/>
        <a:lstStyle/>
        <a:p>
          <a:endParaRPr lang="en-US" sz="1800" b="1">
            <a:solidFill>
              <a:schemeClr val="bg1">
                <a:lumMod val="95000"/>
              </a:schemeClr>
            </a:solidFill>
            <a:latin typeface="Arial" panose="020B0604020202020204" pitchFamily="34" charset="0"/>
            <a:cs typeface="Arial" panose="020B0604020202020204" pitchFamily="34" charset="0"/>
          </a:endParaRPr>
        </a:p>
      </dgm:t>
    </dgm:pt>
    <dgm:pt modelId="{A904653D-8B05-4BED-804A-1FBF1B854CF1}" type="sibTrans" cxnId="{4B077024-D51D-445A-9E5E-8599FD64457E}">
      <dgm:prSet/>
      <dgm:spPr/>
      <dgm:t>
        <a:bodyPr/>
        <a:lstStyle/>
        <a:p>
          <a:endParaRPr lang="en-US" sz="1800" b="1">
            <a:solidFill>
              <a:schemeClr val="bg1">
                <a:lumMod val="95000"/>
              </a:schemeClr>
            </a:solidFill>
            <a:latin typeface="Arial" panose="020B0604020202020204" pitchFamily="34" charset="0"/>
            <a:cs typeface="Arial" panose="020B0604020202020204" pitchFamily="34" charset="0"/>
          </a:endParaRPr>
        </a:p>
      </dgm:t>
    </dgm:pt>
    <dgm:pt modelId="{86CAD231-D137-4656-9341-3C221B79C312}">
      <dgm:prSet phldrT="[Text]" custT="1"/>
      <dgm:spPr>
        <a:xfrm>
          <a:off x="735772" y="975167"/>
          <a:ext cx="4165471" cy="545365"/>
        </a:xfrm>
        <a:prstGeom prst="rect">
          <a:avLst/>
        </a:prstGeom>
        <a:solidFill>
          <a:srgbClr val="10069F"/>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sz="1800" b="1" i="0" dirty="0">
              <a:solidFill>
                <a:schemeClr val="bg1">
                  <a:lumMod val="95000"/>
                </a:schemeClr>
              </a:solidFill>
              <a:effectLst/>
              <a:latin typeface="-apple-system"/>
            </a:rPr>
            <a:t>Desarrollo diferenciado del Equipo</a:t>
          </a:r>
          <a:endParaRPr lang="en-US" sz="1800" b="1" dirty="0">
            <a:solidFill>
              <a:schemeClr val="bg1">
                <a:lumMod val="95000"/>
              </a:schemeClr>
            </a:solidFill>
            <a:latin typeface="Arial" panose="020B0604020202020204" pitchFamily="34" charset="0"/>
            <a:ea typeface="+mn-ea"/>
            <a:cs typeface="Arial" panose="020B0604020202020204" pitchFamily="34" charset="0"/>
          </a:endParaRPr>
        </a:p>
      </dgm:t>
    </dgm:pt>
    <dgm:pt modelId="{4AFFF6A1-8D41-4593-B03C-E75A31BC4FC8}" type="parTrans" cxnId="{472C27CA-2F7B-482B-AF81-6E4D7446D65C}">
      <dgm:prSet/>
      <dgm:spPr/>
      <dgm:t>
        <a:bodyPr/>
        <a:lstStyle/>
        <a:p>
          <a:endParaRPr lang="es-AR" sz="1800">
            <a:solidFill>
              <a:schemeClr val="bg1">
                <a:lumMod val="95000"/>
              </a:schemeClr>
            </a:solidFill>
          </a:endParaRPr>
        </a:p>
      </dgm:t>
    </dgm:pt>
    <dgm:pt modelId="{B87B9150-62BB-45C0-AAA1-63455E6A3A34}" type="sibTrans" cxnId="{472C27CA-2F7B-482B-AF81-6E4D7446D65C}">
      <dgm:prSet/>
      <dgm:spPr/>
      <dgm:t>
        <a:bodyPr/>
        <a:lstStyle/>
        <a:p>
          <a:endParaRPr lang="es-AR" sz="1800">
            <a:solidFill>
              <a:schemeClr val="bg1">
                <a:lumMod val="95000"/>
              </a:schemeClr>
            </a:solidFill>
          </a:endParaRPr>
        </a:p>
      </dgm:t>
    </dgm:pt>
    <dgm:pt modelId="{BE1D83AB-E59D-4301-8702-83456EBCAC36}" type="pres">
      <dgm:prSet presAssocID="{E86DE45A-9A35-4F83-B59C-17B42F1F750C}" presName="Name0" presStyleCnt="0">
        <dgm:presLayoutVars>
          <dgm:chMax val="7"/>
          <dgm:chPref val="7"/>
          <dgm:dir/>
        </dgm:presLayoutVars>
      </dgm:prSet>
      <dgm:spPr/>
    </dgm:pt>
    <dgm:pt modelId="{82280448-D9B6-4A73-B667-3E2D7D949265}" type="pres">
      <dgm:prSet presAssocID="{E86DE45A-9A35-4F83-B59C-17B42F1F750C}" presName="Name1" presStyleCnt="0"/>
      <dgm:spPr/>
    </dgm:pt>
    <dgm:pt modelId="{2198F85C-1BE5-43CB-86E4-5076A68D4320}" type="pres">
      <dgm:prSet presAssocID="{E86DE45A-9A35-4F83-B59C-17B42F1F750C}" presName="cycle" presStyleCnt="0"/>
      <dgm:spPr/>
    </dgm:pt>
    <dgm:pt modelId="{6329B08B-A731-4FA1-8AAC-DE996D09C12B}" type="pres">
      <dgm:prSet presAssocID="{E86DE45A-9A35-4F83-B59C-17B42F1F750C}" presName="srcNode" presStyleLbl="node1" presStyleIdx="0" presStyleCnt="5"/>
      <dgm:spPr/>
    </dgm:pt>
    <dgm:pt modelId="{E7247F0A-9AE9-4958-88CF-19349929C5BC}" type="pres">
      <dgm:prSet presAssocID="{E86DE45A-9A35-4F83-B59C-17B42F1F750C}" presName="conn" presStyleLbl="parChTrans1D2" presStyleIdx="0" presStyleCnt="1"/>
      <dgm:spPr/>
    </dgm:pt>
    <dgm:pt modelId="{C5290EF4-2DA8-4EC1-BD75-D632E57C0D6B}" type="pres">
      <dgm:prSet presAssocID="{E86DE45A-9A35-4F83-B59C-17B42F1F750C}" presName="extraNode" presStyleLbl="node1" presStyleIdx="0" presStyleCnt="5"/>
      <dgm:spPr/>
    </dgm:pt>
    <dgm:pt modelId="{958C9B21-3136-4D0B-8537-436675E2F8B9}" type="pres">
      <dgm:prSet presAssocID="{E86DE45A-9A35-4F83-B59C-17B42F1F750C}" presName="dstNode" presStyleLbl="node1" presStyleIdx="0" presStyleCnt="5"/>
      <dgm:spPr/>
    </dgm:pt>
    <dgm:pt modelId="{A45CAAE5-D7B1-4173-A17C-33CC79E0B455}" type="pres">
      <dgm:prSet presAssocID="{E7A0B307-C117-43A8-A82F-4ACF21A759D1}" presName="text_1" presStyleLbl="node1" presStyleIdx="0" presStyleCnt="5">
        <dgm:presLayoutVars>
          <dgm:bulletEnabled val="1"/>
        </dgm:presLayoutVars>
      </dgm:prSet>
      <dgm:spPr/>
    </dgm:pt>
    <dgm:pt modelId="{2DD9B34C-3849-4645-959D-275D4001F7F4}" type="pres">
      <dgm:prSet presAssocID="{E7A0B307-C117-43A8-A82F-4ACF21A759D1}" presName="accent_1" presStyleCnt="0"/>
      <dgm:spPr/>
    </dgm:pt>
    <dgm:pt modelId="{2736CA83-D2D5-43E9-BD08-A13DD1B413C0}" type="pres">
      <dgm:prSet presAssocID="{E7A0B307-C117-43A8-A82F-4ACF21A759D1}" presName="accentRepeatNode" presStyleLbl="solidFgAcc1" presStyleIdx="0" presStyleCnt="5"/>
      <dgm:spPr>
        <a:xfrm>
          <a:off x="65926" y="187077"/>
          <a:ext cx="624124" cy="624124"/>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gm:spPr>
    </dgm:pt>
    <dgm:pt modelId="{6839A244-9B82-44AE-BF53-F195D590C584}" type="pres">
      <dgm:prSet presAssocID="{86CAD231-D137-4656-9341-3C221B79C312}" presName="text_2" presStyleLbl="node1" presStyleIdx="1" presStyleCnt="5" custScaleY="109226">
        <dgm:presLayoutVars>
          <dgm:bulletEnabled val="1"/>
        </dgm:presLayoutVars>
      </dgm:prSet>
      <dgm:spPr/>
    </dgm:pt>
    <dgm:pt modelId="{02CE8741-06E2-4346-A023-CAF6CD7627DE}" type="pres">
      <dgm:prSet presAssocID="{86CAD231-D137-4656-9341-3C221B79C312}" presName="accent_2" presStyleCnt="0"/>
      <dgm:spPr/>
    </dgm:pt>
    <dgm:pt modelId="{9F818E91-8B28-48C5-8004-C8B5B01E40C5}" type="pres">
      <dgm:prSet presAssocID="{86CAD231-D137-4656-9341-3C221B79C312}" presName="accentRepeatNode" presStyleLbl="solidFgAcc1" presStyleIdx="1" presStyleCnt="5"/>
      <dgm:spPr>
        <a:xfrm>
          <a:off x="423709" y="935787"/>
          <a:ext cx="624124" cy="624124"/>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gm:spPr>
    </dgm:pt>
    <dgm:pt modelId="{EA6C6D0A-3C5B-4BB3-ABC5-0028C9623E65}" type="pres">
      <dgm:prSet presAssocID="{F5AC8656-0E58-45F0-9424-3B9D4E8A4BCB}" presName="text_3" presStyleLbl="node1" presStyleIdx="2" presStyleCnt="5">
        <dgm:presLayoutVars>
          <dgm:bulletEnabled val="1"/>
        </dgm:presLayoutVars>
      </dgm:prSet>
      <dgm:spPr/>
    </dgm:pt>
    <dgm:pt modelId="{301074BB-9959-4D6A-B8A3-974185588333}" type="pres">
      <dgm:prSet presAssocID="{F5AC8656-0E58-45F0-9424-3B9D4E8A4BCB}" presName="accent_3" presStyleCnt="0"/>
      <dgm:spPr/>
    </dgm:pt>
    <dgm:pt modelId="{D418B5BE-B21E-4046-A0AD-023429D3C79F}" type="pres">
      <dgm:prSet presAssocID="{F5AC8656-0E58-45F0-9424-3B9D4E8A4BCB}" presName="accentRepeatNode" presStyleLbl="solidFgAcc1" presStyleIdx="2" presStyleCnt="5"/>
      <dgm:spPr>
        <a:xfrm>
          <a:off x="533520" y="1684497"/>
          <a:ext cx="624124" cy="624124"/>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gm:spPr>
    </dgm:pt>
    <dgm:pt modelId="{10C410B0-6CB5-420C-8686-D1022BF7D06D}" type="pres">
      <dgm:prSet presAssocID="{A9EC9AF1-0577-46F6-A108-6DB536331303}" presName="text_4" presStyleLbl="node1" presStyleIdx="3" presStyleCnt="5" custScaleY="133874">
        <dgm:presLayoutVars>
          <dgm:bulletEnabled val="1"/>
        </dgm:presLayoutVars>
      </dgm:prSet>
      <dgm:spPr/>
    </dgm:pt>
    <dgm:pt modelId="{41CE7868-DE48-4916-8A38-3ADCF4586869}" type="pres">
      <dgm:prSet presAssocID="{A9EC9AF1-0577-46F6-A108-6DB536331303}" presName="accent_4" presStyleCnt="0"/>
      <dgm:spPr/>
    </dgm:pt>
    <dgm:pt modelId="{9F6D53BC-B7FD-4581-845B-9DE1F23B2376}" type="pres">
      <dgm:prSet presAssocID="{A9EC9AF1-0577-46F6-A108-6DB536331303}" presName="accentRepeatNode" presStyleLbl="solidFgAcc1" presStyleIdx="3" presStyleCnt="5"/>
      <dgm:spPr>
        <a:xfrm>
          <a:off x="423709" y="2433207"/>
          <a:ext cx="624124" cy="624124"/>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gm:spPr>
    </dgm:pt>
    <dgm:pt modelId="{5438D108-3F50-48CD-AD9E-8A1E1CA27563}" type="pres">
      <dgm:prSet presAssocID="{7AC982CD-3D25-49C0-A168-45F8A569020F}" presName="text_5" presStyleLbl="node1" presStyleIdx="4" presStyleCnt="5">
        <dgm:presLayoutVars>
          <dgm:bulletEnabled val="1"/>
        </dgm:presLayoutVars>
      </dgm:prSet>
      <dgm:spPr/>
    </dgm:pt>
    <dgm:pt modelId="{71FC2E33-C56D-43D9-9045-1627992D48E7}" type="pres">
      <dgm:prSet presAssocID="{7AC982CD-3D25-49C0-A168-45F8A569020F}" presName="accent_5" presStyleCnt="0"/>
      <dgm:spPr/>
    </dgm:pt>
    <dgm:pt modelId="{372AFAE5-5FBB-4ACF-B28E-A0D1EA93AC3F}" type="pres">
      <dgm:prSet presAssocID="{7AC982CD-3D25-49C0-A168-45F8A569020F}" presName="accentRepeatNode" presStyleLbl="solidFgAcc1" presStyleIdx="4" presStyleCnt="5"/>
      <dgm:spPr>
        <a:xfrm>
          <a:off x="65926" y="3181917"/>
          <a:ext cx="624124" cy="624124"/>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gm:spPr>
    </dgm:pt>
  </dgm:ptLst>
  <dgm:cxnLst>
    <dgm:cxn modelId="{4B077024-D51D-445A-9E5E-8599FD64457E}" srcId="{E86DE45A-9A35-4F83-B59C-17B42F1F750C}" destId="{7AC982CD-3D25-49C0-A168-45F8A569020F}" srcOrd="4" destOrd="0" parTransId="{E6F9C343-05EE-4977-9FF9-96D7EDC73C6A}" sibTransId="{A904653D-8B05-4BED-804A-1FBF1B854CF1}"/>
    <dgm:cxn modelId="{BCEEF92B-5CD2-4A40-8D33-51E8E45A7626}" type="presOf" srcId="{E7A0B307-C117-43A8-A82F-4ACF21A759D1}" destId="{A45CAAE5-D7B1-4173-A17C-33CC79E0B455}" srcOrd="0" destOrd="0" presId="urn:microsoft.com/office/officeart/2008/layout/VerticalCurvedList"/>
    <dgm:cxn modelId="{D50BD83D-351C-49C2-82CE-F26BC52B3109}" srcId="{E86DE45A-9A35-4F83-B59C-17B42F1F750C}" destId="{F5AC8656-0E58-45F0-9424-3B9D4E8A4BCB}" srcOrd="2" destOrd="0" parTransId="{234E3E93-2D06-4566-A68E-E74545BEFF37}" sibTransId="{073273A6-F27D-455A-8E60-521BD4AEC9AB}"/>
    <dgm:cxn modelId="{720DFA40-0FF8-4FB6-8A41-FCB4AA130520}" type="presOf" srcId="{86CAD231-D137-4656-9341-3C221B79C312}" destId="{6839A244-9B82-44AE-BF53-F195D590C584}" srcOrd="0" destOrd="0" presId="urn:microsoft.com/office/officeart/2008/layout/VerticalCurvedList"/>
    <dgm:cxn modelId="{53217563-B051-4AB7-BCAF-0E008CE8872C}" type="presOf" srcId="{4AB34915-8D20-4528-857A-F1E1EC62CFFC}" destId="{E7247F0A-9AE9-4958-88CF-19349929C5BC}" srcOrd="0" destOrd="0" presId="urn:microsoft.com/office/officeart/2008/layout/VerticalCurvedList"/>
    <dgm:cxn modelId="{2C625052-B9CC-4EA5-AD0F-FC86B8EBB9C1}" type="presOf" srcId="{F5AC8656-0E58-45F0-9424-3B9D4E8A4BCB}" destId="{EA6C6D0A-3C5B-4BB3-ABC5-0028C9623E65}" srcOrd="0" destOrd="0" presId="urn:microsoft.com/office/officeart/2008/layout/VerticalCurvedList"/>
    <dgm:cxn modelId="{AFAF4D9F-3FA1-4E7E-90ED-FC98B6D8F065}" type="presOf" srcId="{E86DE45A-9A35-4F83-B59C-17B42F1F750C}" destId="{BE1D83AB-E59D-4301-8702-83456EBCAC36}" srcOrd="0" destOrd="0" presId="urn:microsoft.com/office/officeart/2008/layout/VerticalCurvedList"/>
    <dgm:cxn modelId="{24F5E0B7-6D8A-40B6-A71C-8C11D1460AC2}" srcId="{E86DE45A-9A35-4F83-B59C-17B42F1F750C}" destId="{A9EC9AF1-0577-46F6-A108-6DB536331303}" srcOrd="3" destOrd="0" parTransId="{86397E2A-8116-4136-A723-AA15AFE0128A}" sibTransId="{F28CDB61-FC18-4967-A2E6-1016841EC919}"/>
    <dgm:cxn modelId="{6BC9D7C2-5E17-46B6-B25D-C5E4C9B7CE7E}" srcId="{E86DE45A-9A35-4F83-B59C-17B42F1F750C}" destId="{E7A0B307-C117-43A8-A82F-4ACF21A759D1}" srcOrd="0" destOrd="0" parTransId="{4B551427-8737-4D62-8FF8-108875062414}" sibTransId="{4AB34915-8D20-4528-857A-F1E1EC62CFFC}"/>
    <dgm:cxn modelId="{BBBC04CA-1584-49D0-B19A-6DCD182172FE}" type="presOf" srcId="{A9EC9AF1-0577-46F6-A108-6DB536331303}" destId="{10C410B0-6CB5-420C-8686-D1022BF7D06D}" srcOrd="0" destOrd="0" presId="urn:microsoft.com/office/officeart/2008/layout/VerticalCurvedList"/>
    <dgm:cxn modelId="{472C27CA-2F7B-482B-AF81-6E4D7446D65C}" srcId="{E86DE45A-9A35-4F83-B59C-17B42F1F750C}" destId="{86CAD231-D137-4656-9341-3C221B79C312}" srcOrd="1" destOrd="0" parTransId="{4AFFF6A1-8D41-4593-B03C-E75A31BC4FC8}" sibTransId="{B87B9150-62BB-45C0-AAA1-63455E6A3A34}"/>
    <dgm:cxn modelId="{03EC48CC-566C-4D70-9ADD-66D3E73254F5}" type="presOf" srcId="{7AC982CD-3D25-49C0-A168-45F8A569020F}" destId="{5438D108-3F50-48CD-AD9E-8A1E1CA27563}" srcOrd="0" destOrd="0" presId="urn:microsoft.com/office/officeart/2008/layout/VerticalCurvedList"/>
    <dgm:cxn modelId="{351E6DE5-61BA-417E-8C1A-25DC683B8B21}" type="presParOf" srcId="{BE1D83AB-E59D-4301-8702-83456EBCAC36}" destId="{82280448-D9B6-4A73-B667-3E2D7D949265}" srcOrd="0" destOrd="0" presId="urn:microsoft.com/office/officeart/2008/layout/VerticalCurvedList"/>
    <dgm:cxn modelId="{90DCC042-51C0-47E1-A6D0-EC243014FFA4}" type="presParOf" srcId="{82280448-D9B6-4A73-B667-3E2D7D949265}" destId="{2198F85C-1BE5-43CB-86E4-5076A68D4320}" srcOrd="0" destOrd="0" presId="urn:microsoft.com/office/officeart/2008/layout/VerticalCurvedList"/>
    <dgm:cxn modelId="{90977152-455D-437F-A9F0-B8B2C3B0C9FC}" type="presParOf" srcId="{2198F85C-1BE5-43CB-86E4-5076A68D4320}" destId="{6329B08B-A731-4FA1-8AAC-DE996D09C12B}" srcOrd="0" destOrd="0" presId="urn:microsoft.com/office/officeart/2008/layout/VerticalCurvedList"/>
    <dgm:cxn modelId="{EB10314F-6ECE-4CAA-9523-034CF0597DC2}" type="presParOf" srcId="{2198F85C-1BE5-43CB-86E4-5076A68D4320}" destId="{E7247F0A-9AE9-4958-88CF-19349929C5BC}" srcOrd="1" destOrd="0" presId="urn:microsoft.com/office/officeart/2008/layout/VerticalCurvedList"/>
    <dgm:cxn modelId="{24956C8D-C323-417A-B4EF-AE62285CC751}" type="presParOf" srcId="{2198F85C-1BE5-43CB-86E4-5076A68D4320}" destId="{C5290EF4-2DA8-4EC1-BD75-D632E57C0D6B}" srcOrd="2" destOrd="0" presId="urn:microsoft.com/office/officeart/2008/layout/VerticalCurvedList"/>
    <dgm:cxn modelId="{5B5A411C-F8FA-465C-8C81-D9BB07B54AA7}" type="presParOf" srcId="{2198F85C-1BE5-43CB-86E4-5076A68D4320}" destId="{958C9B21-3136-4D0B-8537-436675E2F8B9}" srcOrd="3" destOrd="0" presId="urn:microsoft.com/office/officeart/2008/layout/VerticalCurvedList"/>
    <dgm:cxn modelId="{61F1F75B-9EC2-4805-ACC5-BBCE329F7715}" type="presParOf" srcId="{82280448-D9B6-4A73-B667-3E2D7D949265}" destId="{A45CAAE5-D7B1-4173-A17C-33CC79E0B455}" srcOrd="1" destOrd="0" presId="urn:microsoft.com/office/officeart/2008/layout/VerticalCurvedList"/>
    <dgm:cxn modelId="{B8C5B76F-CB09-4182-9587-6B721F2CF9A5}" type="presParOf" srcId="{82280448-D9B6-4A73-B667-3E2D7D949265}" destId="{2DD9B34C-3849-4645-959D-275D4001F7F4}" srcOrd="2" destOrd="0" presId="urn:microsoft.com/office/officeart/2008/layout/VerticalCurvedList"/>
    <dgm:cxn modelId="{B069D02B-E5B0-41EF-9502-D1E383512A63}" type="presParOf" srcId="{2DD9B34C-3849-4645-959D-275D4001F7F4}" destId="{2736CA83-D2D5-43E9-BD08-A13DD1B413C0}" srcOrd="0" destOrd="0" presId="urn:microsoft.com/office/officeart/2008/layout/VerticalCurvedList"/>
    <dgm:cxn modelId="{431D956B-898D-4084-A4E3-863C52992A11}" type="presParOf" srcId="{82280448-D9B6-4A73-B667-3E2D7D949265}" destId="{6839A244-9B82-44AE-BF53-F195D590C584}" srcOrd="3" destOrd="0" presId="urn:microsoft.com/office/officeart/2008/layout/VerticalCurvedList"/>
    <dgm:cxn modelId="{B2D3FD21-2D82-4FC9-848D-B28C84708F22}" type="presParOf" srcId="{82280448-D9B6-4A73-B667-3E2D7D949265}" destId="{02CE8741-06E2-4346-A023-CAF6CD7627DE}" srcOrd="4" destOrd="0" presId="urn:microsoft.com/office/officeart/2008/layout/VerticalCurvedList"/>
    <dgm:cxn modelId="{D4565DD1-61F2-4961-9644-39E040A1FF27}" type="presParOf" srcId="{02CE8741-06E2-4346-A023-CAF6CD7627DE}" destId="{9F818E91-8B28-48C5-8004-C8B5B01E40C5}" srcOrd="0" destOrd="0" presId="urn:microsoft.com/office/officeart/2008/layout/VerticalCurvedList"/>
    <dgm:cxn modelId="{AB38D5FE-61A1-4AF7-AD1E-00DC5C22ECA7}" type="presParOf" srcId="{82280448-D9B6-4A73-B667-3E2D7D949265}" destId="{EA6C6D0A-3C5B-4BB3-ABC5-0028C9623E65}" srcOrd="5" destOrd="0" presId="urn:microsoft.com/office/officeart/2008/layout/VerticalCurvedList"/>
    <dgm:cxn modelId="{35D1AC92-E903-464B-AFAD-C66B79363550}" type="presParOf" srcId="{82280448-D9B6-4A73-B667-3E2D7D949265}" destId="{301074BB-9959-4D6A-B8A3-974185588333}" srcOrd="6" destOrd="0" presId="urn:microsoft.com/office/officeart/2008/layout/VerticalCurvedList"/>
    <dgm:cxn modelId="{22E6192E-1894-4F06-A841-9594372ECBB2}" type="presParOf" srcId="{301074BB-9959-4D6A-B8A3-974185588333}" destId="{D418B5BE-B21E-4046-A0AD-023429D3C79F}" srcOrd="0" destOrd="0" presId="urn:microsoft.com/office/officeart/2008/layout/VerticalCurvedList"/>
    <dgm:cxn modelId="{D843E2DE-04D1-4EF4-8AC3-EE8C14BE53E3}" type="presParOf" srcId="{82280448-D9B6-4A73-B667-3E2D7D949265}" destId="{10C410B0-6CB5-420C-8686-D1022BF7D06D}" srcOrd="7" destOrd="0" presId="urn:microsoft.com/office/officeart/2008/layout/VerticalCurvedList"/>
    <dgm:cxn modelId="{789FF574-2BBA-4CBD-83D4-172343718426}" type="presParOf" srcId="{82280448-D9B6-4A73-B667-3E2D7D949265}" destId="{41CE7868-DE48-4916-8A38-3ADCF4586869}" srcOrd="8" destOrd="0" presId="urn:microsoft.com/office/officeart/2008/layout/VerticalCurvedList"/>
    <dgm:cxn modelId="{D7D755E1-2A49-4F49-8A08-163EAD0A6061}" type="presParOf" srcId="{41CE7868-DE48-4916-8A38-3ADCF4586869}" destId="{9F6D53BC-B7FD-4581-845B-9DE1F23B2376}" srcOrd="0" destOrd="0" presId="urn:microsoft.com/office/officeart/2008/layout/VerticalCurvedList"/>
    <dgm:cxn modelId="{E0784227-EB8C-4F90-BC08-6D31B85A1BD5}" type="presParOf" srcId="{82280448-D9B6-4A73-B667-3E2D7D949265}" destId="{5438D108-3F50-48CD-AD9E-8A1E1CA27563}" srcOrd="9" destOrd="0" presId="urn:microsoft.com/office/officeart/2008/layout/VerticalCurvedList"/>
    <dgm:cxn modelId="{5C2431BE-F04B-4194-A4CC-FAAD9BE01B42}" type="presParOf" srcId="{82280448-D9B6-4A73-B667-3E2D7D949265}" destId="{71FC2E33-C56D-43D9-9045-1627992D48E7}" srcOrd="10" destOrd="0" presId="urn:microsoft.com/office/officeart/2008/layout/VerticalCurvedList"/>
    <dgm:cxn modelId="{2E4398FC-02CE-4D2E-8265-F74DE419B653}" type="presParOf" srcId="{71FC2E33-C56D-43D9-9045-1627992D48E7}" destId="{372AFAE5-5FBB-4ACF-B28E-A0D1EA93AC3F}"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8B385D-226B-4CA7-857F-4A9931969A46}" type="doc">
      <dgm:prSet loTypeId="urn:microsoft.com/office/officeart/2005/8/layout/pyramid4" loCatId="pyramid" qsTypeId="urn:microsoft.com/office/officeart/2005/8/quickstyle/simple1" qsCatId="simple" csTypeId="urn:microsoft.com/office/officeart/2005/8/colors/accent1_2" csCatId="accent1" phldr="1"/>
      <dgm:spPr/>
      <dgm:t>
        <a:bodyPr/>
        <a:lstStyle/>
        <a:p>
          <a:endParaRPr lang="en-US"/>
        </a:p>
      </dgm:t>
    </dgm:pt>
    <dgm:pt modelId="{480636E0-4DFC-483E-98A7-8AC2D77C9171}">
      <dgm:prSet phldrT="[Texto]" custT="1"/>
      <dgm:spPr>
        <a:xfrm>
          <a:off x="5672223" y="0"/>
          <a:ext cx="1998576" cy="1998576"/>
        </a:xfrm>
        <a:prstGeom prst="triangle">
          <a:avLst/>
        </a:prstGeom>
        <a:solidFill>
          <a:srgbClr val="E3D8F2">
            <a:lumMod val="50000"/>
          </a:srgbClr>
        </a:solidFill>
        <a:ln w="12700" cap="flat" cmpd="sng" algn="ctr">
          <a:solidFill>
            <a:srgbClr val="E3D8F2">
              <a:lumMod val="75000"/>
            </a:srgbClr>
          </a:solidFill>
          <a:prstDash val="solid"/>
          <a:miter lim="800000"/>
        </a:ln>
        <a:effectLst/>
        <a:scene3d>
          <a:camera prst="orthographicFront"/>
          <a:lightRig rig="threePt" dir="t"/>
        </a:scene3d>
        <a:sp3d>
          <a:bevelT w="152400" h="50800" prst="softRound"/>
        </a:sp3d>
      </dgm:spPr>
      <dgm:t>
        <a:bodyPr spcFirstLastPara="0" vert="horz" wrap="square" lIns="8890" tIns="8890" rIns="8890" bIns="8890" numCol="1" spcCol="1270" anchor="ctr" anchorCtr="0"/>
        <a:lstStyle/>
        <a:p>
          <a:pPr marL="0" lvl="0" algn="ctr" defTabSz="622300">
            <a:lnSpc>
              <a:spcPct val="90000"/>
            </a:lnSpc>
            <a:spcBef>
              <a:spcPct val="0"/>
            </a:spcBef>
            <a:spcAft>
              <a:spcPct val="35000"/>
            </a:spcAft>
            <a:buNone/>
          </a:pPr>
          <a:endParaRPr lang="en-US" sz="1200" b="1" kern="1200" dirty="0">
            <a:solidFill>
              <a:sysClr val="window" lastClr="FFFFFF"/>
            </a:solidFill>
            <a:latin typeface="Arial" panose="020B0604020202020204"/>
            <a:ea typeface="+mn-ea"/>
            <a:cs typeface="+mn-cs"/>
          </a:endParaRPr>
        </a:p>
        <a:p>
          <a:pPr marL="0" lvl="0" algn="ctr" defTabSz="622300">
            <a:lnSpc>
              <a:spcPct val="90000"/>
            </a:lnSpc>
            <a:spcBef>
              <a:spcPct val="0"/>
            </a:spcBef>
            <a:spcAft>
              <a:spcPct val="35000"/>
            </a:spcAft>
            <a:buNone/>
          </a:pPr>
          <a:r>
            <a:rPr lang="en-US" sz="1200" b="1" kern="1200" dirty="0">
              <a:solidFill>
                <a:sysClr val="window" lastClr="FFFFFF"/>
              </a:solidFill>
              <a:latin typeface="Arial" panose="020B0604020202020204"/>
              <a:ea typeface="+mn-ea"/>
              <a:cs typeface="+mn-cs"/>
            </a:rPr>
            <a:t>Management Processing</a:t>
          </a:r>
        </a:p>
        <a:p>
          <a:pPr marL="0" lvl="0" algn="ctr" defTabSz="622300">
            <a:lnSpc>
              <a:spcPct val="90000"/>
            </a:lnSpc>
            <a:spcBef>
              <a:spcPct val="0"/>
            </a:spcBef>
            <a:spcAft>
              <a:spcPct val="35000"/>
            </a:spcAft>
            <a:buNone/>
          </a:pPr>
          <a:endParaRPr lang="en-US" sz="1200" b="1" kern="1200" dirty="0">
            <a:solidFill>
              <a:sysClr val="window" lastClr="FFFFFF"/>
            </a:solidFill>
            <a:latin typeface="Arial" panose="020B0604020202020204"/>
            <a:ea typeface="+mn-ea"/>
            <a:cs typeface="+mn-cs"/>
          </a:endParaRPr>
        </a:p>
      </dgm:t>
    </dgm:pt>
    <dgm:pt modelId="{1FA6BA24-AB44-4FED-A321-EABD51B2C63D}" type="parTrans" cxnId="{F978C9A3-6004-4511-9241-BEDD09758CA5}">
      <dgm:prSet/>
      <dgm:spPr/>
      <dgm:t>
        <a:bodyPr/>
        <a:lstStyle/>
        <a:p>
          <a:endParaRPr lang="en-US" sz="1400">
            <a:solidFill>
              <a:schemeClr val="tx1"/>
            </a:solidFill>
          </a:endParaRPr>
        </a:p>
      </dgm:t>
    </dgm:pt>
    <dgm:pt modelId="{B31F5E23-729D-4CA7-AA35-4CAB4B17C284}" type="sibTrans" cxnId="{F978C9A3-6004-4511-9241-BEDD09758CA5}">
      <dgm:prSet/>
      <dgm:spPr/>
      <dgm:t>
        <a:bodyPr/>
        <a:lstStyle/>
        <a:p>
          <a:endParaRPr lang="en-US" sz="1400">
            <a:solidFill>
              <a:schemeClr val="tx1"/>
            </a:solidFill>
          </a:endParaRPr>
        </a:p>
      </dgm:t>
    </dgm:pt>
    <dgm:pt modelId="{E60CF393-2C05-43A7-A3C6-92A378C3FDB9}">
      <dgm:prSet phldrT="[Texto]" custT="1"/>
      <dgm:spPr>
        <a:xfrm>
          <a:off x="4672935" y="1998576"/>
          <a:ext cx="1998576" cy="1998576"/>
        </a:xfrm>
        <a:prstGeom prst="triangle">
          <a:avLst/>
        </a:prstGeom>
        <a:solidFill>
          <a:srgbClr val="33D196"/>
        </a:solidFill>
        <a:ln w="12700" cap="flat" cmpd="sng" algn="ctr">
          <a:solidFill>
            <a:prstClr val="white">
              <a:hueOff val="0"/>
              <a:satOff val="0"/>
              <a:lumOff val="0"/>
              <a:alphaOff val="0"/>
            </a:prstClr>
          </a:solidFill>
          <a:prstDash val="solid"/>
          <a:miter lim="800000"/>
        </a:ln>
        <a:effectLst/>
        <a:scene3d>
          <a:camera prst="orthographicFront"/>
          <a:lightRig rig="threePt" dir="t"/>
        </a:scene3d>
        <a:sp3d>
          <a:bevelT w="152400" h="50800" prst="softRound"/>
        </a:sp3d>
      </dgm:spPr>
      <dgm:t>
        <a:bodyPr spcFirstLastPara="0" vert="horz" wrap="square" lIns="8890" tIns="8890" rIns="8890" bIns="8890" numCol="1" spcCol="1270" anchor="ctr" anchorCtr="0"/>
        <a:lstStyle/>
        <a:p>
          <a:pPr marL="0" lvl="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Inbound</a:t>
          </a:r>
        </a:p>
        <a:p>
          <a:pPr marL="0" lvl="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Processing</a:t>
          </a:r>
        </a:p>
      </dgm:t>
    </dgm:pt>
    <dgm:pt modelId="{90CD1A99-13CB-4967-BCA5-BEF1FEEC74CE}" type="parTrans" cxnId="{4025CD40-D776-42F6-8AF2-55D5A23327DD}">
      <dgm:prSet/>
      <dgm:spPr/>
      <dgm:t>
        <a:bodyPr/>
        <a:lstStyle/>
        <a:p>
          <a:endParaRPr lang="en-US" sz="1400">
            <a:solidFill>
              <a:schemeClr val="tx1"/>
            </a:solidFill>
          </a:endParaRPr>
        </a:p>
      </dgm:t>
    </dgm:pt>
    <dgm:pt modelId="{F5F7C137-D583-494A-9E6A-30D8E5AEFC01}" type="sibTrans" cxnId="{4025CD40-D776-42F6-8AF2-55D5A23327DD}">
      <dgm:prSet/>
      <dgm:spPr/>
      <dgm:t>
        <a:bodyPr/>
        <a:lstStyle/>
        <a:p>
          <a:endParaRPr lang="en-US" sz="1400">
            <a:solidFill>
              <a:schemeClr val="tx1"/>
            </a:solidFill>
          </a:endParaRPr>
        </a:p>
      </dgm:t>
    </dgm:pt>
    <dgm:pt modelId="{EFDF1281-0375-4BD9-9428-E00DDF603C47}">
      <dgm:prSet phldrT="[Texto]" custT="1"/>
      <dgm:spPr>
        <a:xfrm rot="10800000">
          <a:off x="5672223" y="1998576"/>
          <a:ext cx="1998576" cy="1998576"/>
        </a:xfrm>
        <a:prstGeom prst="triangle">
          <a:avLst/>
        </a:prstGeom>
        <a:solidFill>
          <a:srgbClr val="EE3744">
            <a:lumMod val="60000"/>
            <a:lumOff val="40000"/>
          </a:srgbClr>
        </a:solidFill>
        <a:ln w="12700" cap="flat" cmpd="sng" algn="ctr">
          <a:solidFill>
            <a:srgbClr val="EE3744">
              <a:lumMod val="60000"/>
              <a:lumOff val="40000"/>
            </a:srgbClr>
          </a:solidFill>
          <a:prstDash val="solid"/>
          <a:miter lim="800000"/>
        </a:ln>
        <a:effectLst/>
        <a:scene3d>
          <a:camera prst="orthographicFront"/>
          <a:lightRig rig="threePt" dir="t"/>
        </a:scene3d>
        <a:sp3d>
          <a:bevelT w="152400" h="50800" prst="softRound"/>
        </a:sp3d>
      </dgm:spPr>
      <dgm:t>
        <a:bodyPr spcFirstLastPara="0" vert="horz" wrap="square" lIns="8890" tIns="8890" rIns="8890" bIns="8890" numCol="1" spcCol="1270" anchor="ctr" anchorCtr="0"/>
        <a:lstStyle/>
        <a:p>
          <a:pPr marL="0" lvl="0" algn="ctr" defTabSz="622300">
            <a:lnSpc>
              <a:spcPct val="90000"/>
            </a:lnSpc>
            <a:spcBef>
              <a:spcPct val="0"/>
            </a:spcBef>
            <a:spcAft>
              <a:spcPct val="35000"/>
            </a:spcAft>
            <a:buNone/>
          </a:pPr>
          <a:endParaRPr lang="en-US" sz="1400" b="1" kern="1200" dirty="0">
            <a:solidFill>
              <a:srgbClr val="292929"/>
            </a:solidFill>
            <a:latin typeface="Arial" panose="020B0604020202020204"/>
            <a:ea typeface="+mn-ea"/>
            <a:cs typeface="+mn-cs"/>
          </a:endParaRPr>
        </a:p>
        <a:p>
          <a:pPr marL="0" lvl="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Storage Processing &amp; other states</a:t>
          </a:r>
        </a:p>
      </dgm:t>
    </dgm:pt>
    <dgm:pt modelId="{1B736DD6-BA58-4D2C-9286-AE9ADAA0DA90}" type="parTrans" cxnId="{3220613E-B203-4F0A-8564-7A4FA5187E9B}">
      <dgm:prSet/>
      <dgm:spPr/>
      <dgm:t>
        <a:bodyPr/>
        <a:lstStyle/>
        <a:p>
          <a:endParaRPr lang="en-US" sz="1400">
            <a:solidFill>
              <a:schemeClr val="tx1"/>
            </a:solidFill>
          </a:endParaRPr>
        </a:p>
      </dgm:t>
    </dgm:pt>
    <dgm:pt modelId="{5A89E790-3C43-408B-B0F4-6551F03D7F60}" type="sibTrans" cxnId="{3220613E-B203-4F0A-8564-7A4FA5187E9B}">
      <dgm:prSet/>
      <dgm:spPr/>
      <dgm:t>
        <a:bodyPr/>
        <a:lstStyle/>
        <a:p>
          <a:endParaRPr lang="en-US" sz="1400">
            <a:solidFill>
              <a:schemeClr val="tx1"/>
            </a:solidFill>
          </a:endParaRPr>
        </a:p>
      </dgm:t>
    </dgm:pt>
    <dgm:pt modelId="{444F08C1-027E-42E4-BDF7-B851502F3A98}">
      <dgm:prSet phldrT="[Texto]" custT="1"/>
      <dgm:spPr>
        <a:xfrm>
          <a:off x="6671511" y="1998576"/>
          <a:ext cx="1998576" cy="1998576"/>
        </a:xfrm>
        <a:prstGeom prst="triangle">
          <a:avLst/>
        </a:prstGeom>
        <a:solidFill>
          <a:srgbClr val="00B0F0"/>
        </a:solidFill>
        <a:ln w="12700" cap="flat" cmpd="sng" algn="ctr">
          <a:solidFill>
            <a:prstClr val="white">
              <a:hueOff val="0"/>
              <a:satOff val="0"/>
              <a:lumOff val="0"/>
              <a:alphaOff val="0"/>
            </a:prstClr>
          </a:solidFill>
          <a:prstDash val="solid"/>
          <a:miter lim="800000"/>
        </a:ln>
        <a:effectLst/>
        <a:scene3d>
          <a:camera prst="orthographicFront"/>
          <a:lightRig rig="threePt" dir="t"/>
        </a:scene3d>
        <a:sp3d>
          <a:bevelT w="152400" h="50800" prst="softRound"/>
        </a:sp3d>
      </dgm:spPr>
      <dgm:t>
        <a:bodyPr spcFirstLastPara="0" vert="horz" wrap="square" lIns="8890" tIns="8890" rIns="8890" bIns="8890" numCol="1" spcCol="1270" anchor="ctr" anchorCtr="0"/>
        <a:lstStyle/>
        <a:p>
          <a:pPr marL="0" lvl="0" indent="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Outbound</a:t>
          </a:r>
        </a:p>
        <a:p>
          <a:pPr marL="0" lvl="0" indent="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Processing</a:t>
          </a:r>
        </a:p>
      </dgm:t>
    </dgm:pt>
    <dgm:pt modelId="{49096717-96B7-4685-904B-A8653D6C97CD}" type="parTrans" cxnId="{DA5A85E8-F161-4902-90E3-0E48AA5838EC}">
      <dgm:prSet/>
      <dgm:spPr/>
      <dgm:t>
        <a:bodyPr/>
        <a:lstStyle/>
        <a:p>
          <a:endParaRPr lang="en-US" sz="1400">
            <a:solidFill>
              <a:schemeClr val="tx1"/>
            </a:solidFill>
          </a:endParaRPr>
        </a:p>
      </dgm:t>
    </dgm:pt>
    <dgm:pt modelId="{25E84F77-8B57-43EB-AC35-588751F9FBCA}" type="sibTrans" cxnId="{DA5A85E8-F161-4902-90E3-0E48AA5838EC}">
      <dgm:prSet/>
      <dgm:spPr/>
      <dgm:t>
        <a:bodyPr/>
        <a:lstStyle/>
        <a:p>
          <a:endParaRPr lang="en-US" sz="1400">
            <a:solidFill>
              <a:schemeClr val="tx1"/>
            </a:solidFill>
          </a:endParaRPr>
        </a:p>
      </dgm:t>
    </dgm:pt>
    <dgm:pt modelId="{50EBD1A3-70A2-4DB8-8D62-414492D966F6}" type="pres">
      <dgm:prSet presAssocID="{678B385D-226B-4CA7-857F-4A9931969A46}" presName="compositeShape" presStyleCnt="0">
        <dgm:presLayoutVars>
          <dgm:chMax val="9"/>
          <dgm:dir/>
          <dgm:resizeHandles val="exact"/>
        </dgm:presLayoutVars>
      </dgm:prSet>
      <dgm:spPr/>
    </dgm:pt>
    <dgm:pt modelId="{E930FFF3-CF03-40C7-A503-5889ECAA1568}" type="pres">
      <dgm:prSet presAssocID="{678B385D-226B-4CA7-857F-4A9931969A46}" presName="triangle1" presStyleLbl="node1" presStyleIdx="0" presStyleCnt="4">
        <dgm:presLayoutVars>
          <dgm:bulletEnabled val="1"/>
        </dgm:presLayoutVars>
      </dgm:prSet>
      <dgm:spPr>
        <a:xfrm>
          <a:off x="5449205" y="0"/>
          <a:ext cx="2656303" cy="2656303"/>
        </a:xfrm>
        <a:prstGeom prst="triangle">
          <a:avLst/>
        </a:prstGeom>
      </dgm:spPr>
    </dgm:pt>
    <dgm:pt modelId="{AF7830E6-7326-4ECB-9913-E23CC573A1B3}" type="pres">
      <dgm:prSet presAssocID="{678B385D-226B-4CA7-857F-4A9931969A46}" presName="triangle2" presStyleLbl="node1" presStyleIdx="1" presStyleCnt="4">
        <dgm:presLayoutVars>
          <dgm:bulletEnabled val="1"/>
        </dgm:presLayoutVars>
      </dgm:prSet>
      <dgm:spPr>
        <a:xfrm>
          <a:off x="4121053" y="2656303"/>
          <a:ext cx="2656303" cy="2656303"/>
        </a:xfrm>
        <a:prstGeom prst="triangle">
          <a:avLst/>
        </a:prstGeom>
      </dgm:spPr>
    </dgm:pt>
    <dgm:pt modelId="{E49DFCEF-BEC5-4C49-8798-D034FD12E709}" type="pres">
      <dgm:prSet presAssocID="{678B385D-226B-4CA7-857F-4A9931969A46}" presName="triangle3" presStyleLbl="node1" presStyleIdx="2" presStyleCnt="4">
        <dgm:presLayoutVars>
          <dgm:bulletEnabled val="1"/>
        </dgm:presLayoutVars>
      </dgm:prSet>
      <dgm:spPr>
        <a:xfrm rot="10800000">
          <a:off x="5449205" y="2656303"/>
          <a:ext cx="2656303" cy="2656303"/>
        </a:xfrm>
        <a:prstGeom prst="triangle">
          <a:avLst/>
        </a:prstGeom>
      </dgm:spPr>
    </dgm:pt>
    <dgm:pt modelId="{BAB71A2E-3E41-499D-9E6A-CDE125F77BF9}" type="pres">
      <dgm:prSet presAssocID="{678B385D-226B-4CA7-857F-4A9931969A46}" presName="triangle4" presStyleLbl="node1" presStyleIdx="3" presStyleCnt="4">
        <dgm:presLayoutVars>
          <dgm:bulletEnabled val="1"/>
        </dgm:presLayoutVars>
      </dgm:prSet>
      <dgm:spPr>
        <a:xfrm>
          <a:off x="6777357" y="2656303"/>
          <a:ext cx="2656303" cy="2656303"/>
        </a:xfrm>
        <a:prstGeom prst="triangle">
          <a:avLst/>
        </a:prstGeom>
      </dgm:spPr>
    </dgm:pt>
  </dgm:ptLst>
  <dgm:cxnLst>
    <dgm:cxn modelId="{3220613E-B203-4F0A-8564-7A4FA5187E9B}" srcId="{678B385D-226B-4CA7-857F-4A9931969A46}" destId="{EFDF1281-0375-4BD9-9428-E00DDF603C47}" srcOrd="2" destOrd="0" parTransId="{1B736DD6-BA58-4D2C-9286-AE9ADAA0DA90}" sibTransId="{5A89E790-3C43-408B-B0F4-6551F03D7F60}"/>
    <dgm:cxn modelId="{4025CD40-D776-42F6-8AF2-55D5A23327DD}" srcId="{678B385D-226B-4CA7-857F-4A9931969A46}" destId="{E60CF393-2C05-43A7-A3C6-92A378C3FDB9}" srcOrd="1" destOrd="0" parTransId="{90CD1A99-13CB-4967-BCA5-BEF1FEEC74CE}" sibTransId="{F5F7C137-D583-494A-9E6A-30D8E5AEFC01}"/>
    <dgm:cxn modelId="{5EC1A986-4893-44C9-9AE8-572134702FD7}" type="presOf" srcId="{EFDF1281-0375-4BD9-9428-E00DDF603C47}" destId="{E49DFCEF-BEC5-4C49-8798-D034FD12E709}" srcOrd="0" destOrd="0" presId="urn:microsoft.com/office/officeart/2005/8/layout/pyramid4"/>
    <dgm:cxn modelId="{06526C93-089D-4F1B-869A-1B3A12B1DC5B}" type="presOf" srcId="{480636E0-4DFC-483E-98A7-8AC2D77C9171}" destId="{E930FFF3-CF03-40C7-A503-5889ECAA1568}" srcOrd="0" destOrd="0" presId="urn:microsoft.com/office/officeart/2005/8/layout/pyramid4"/>
    <dgm:cxn modelId="{31E2CC9A-5AB3-41C5-9CF0-C39A7EA60929}" type="presOf" srcId="{444F08C1-027E-42E4-BDF7-B851502F3A98}" destId="{BAB71A2E-3E41-499D-9E6A-CDE125F77BF9}" srcOrd="0" destOrd="0" presId="urn:microsoft.com/office/officeart/2005/8/layout/pyramid4"/>
    <dgm:cxn modelId="{F978C9A3-6004-4511-9241-BEDD09758CA5}" srcId="{678B385D-226B-4CA7-857F-4A9931969A46}" destId="{480636E0-4DFC-483E-98A7-8AC2D77C9171}" srcOrd="0" destOrd="0" parTransId="{1FA6BA24-AB44-4FED-A321-EABD51B2C63D}" sibTransId="{B31F5E23-729D-4CA7-AA35-4CAB4B17C284}"/>
    <dgm:cxn modelId="{DBC6E2A6-17C8-4402-BF25-E206B57C4EB2}" type="presOf" srcId="{E60CF393-2C05-43A7-A3C6-92A378C3FDB9}" destId="{AF7830E6-7326-4ECB-9913-E23CC573A1B3}" srcOrd="0" destOrd="0" presId="urn:microsoft.com/office/officeart/2005/8/layout/pyramid4"/>
    <dgm:cxn modelId="{DA5A85E8-F161-4902-90E3-0E48AA5838EC}" srcId="{678B385D-226B-4CA7-857F-4A9931969A46}" destId="{444F08C1-027E-42E4-BDF7-B851502F3A98}" srcOrd="3" destOrd="0" parTransId="{49096717-96B7-4685-904B-A8653D6C97CD}" sibTransId="{25E84F77-8B57-43EB-AC35-588751F9FBCA}"/>
    <dgm:cxn modelId="{7664F4FD-52D6-4019-B884-3C0D5A3CF3E1}" type="presOf" srcId="{678B385D-226B-4CA7-857F-4A9931969A46}" destId="{50EBD1A3-70A2-4DB8-8D62-414492D966F6}" srcOrd="0" destOrd="0" presId="urn:microsoft.com/office/officeart/2005/8/layout/pyramid4"/>
    <dgm:cxn modelId="{81C4AF67-9E55-4D69-A2E6-0F79CB771F3D}" type="presParOf" srcId="{50EBD1A3-70A2-4DB8-8D62-414492D966F6}" destId="{E930FFF3-CF03-40C7-A503-5889ECAA1568}" srcOrd="0" destOrd="0" presId="urn:microsoft.com/office/officeart/2005/8/layout/pyramid4"/>
    <dgm:cxn modelId="{60616C0B-1D33-4B8D-B1C3-681157C77E7D}" type="presParOf" srcId="{50EBD1A3-70A2-4DB8-8D62-414492D966F6}" destId="{AF7830E6-7326-4ECB-9913-E23CC573A1B3}" srcOrd="1" destOrd="0" presId="urn:microsoft.com/office/officeart/2005/8/layout/pyramid4"/>
    <dgm:cxn modelId="{A2854B7C-5AE4-4CDF-A488-69B23A85C450}" type="presParOf" srcId="{50EBD1A3-70A2-4DB8-8D62-414492D966F6}" destId="{E49DFCEF-BEC5-4C49-8798-D034FD12E709}" srcOrd="2" destOrd="0" presId="urn:microsoft.com/office/officeart/2005/8/layout/pyramid4"/>
    <dgm:cxn modelId="{B8E634CA-C616-4C7F-805F-317C93CE2C9A}" type="presParOf" srcId="{50EBD1A3-70A2-4DB8-8D62-414492D966F6}" destId="{BAB71A2E-3E41-499D-9E6A-CDE125F77BF9}" srcOrd="3" destOrd="0" presId="urn:microsoft.com/office/officeart/2005/8/layout/pyramid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6DE45A-9A35-4F83-B59C-17B42F1F750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F5AC8656-0E58-45F0-9424-3B9D4E8A4BCB}">
      <dgm:prSet phldrT="[Text]" custT="1"/>
      <dgm:spPr>
        <a:solidFill>
          <a:schemeClr val="accent1"/>
        </a:solidFill>
      </dgm:spPr>
      <dgm:t>
        <a:bodyPr/>
        <a:lstStyle/>
        <a:p>
          <a:endParaRPr lang="es-ES" sz="1200" b="0" dirty="0">
            <a:cs typeface="Calibri" panose="020F0502020204030204" pitchFamily="34" charset="0"/>
          </a:endParaRPr>
        </a:p>
        <a:p>
          <a:r>
            <a:rPr lang="es-ES" sz="1200" b="0" dirty="0" err="1">
              <a:cs typeface="Calibri" panose="020F0502020204030204" pitchFamily="34" charset="0"/>
            </a:rPr>
            <a:t>My</a:t>
          </a:r>
          <a:r>
            <a:rPr lang="es-ES" sz="1200" b="0" dirty="0">
              <a:cs typeface="Calibri" panose="020F0502020204030204" pitchFamily="34" charset="0"/>
            </a:rPr>
            <a:t> </a:t>
          </a:r>
          <a:r>
            <a:rPr lang="es-ES" sz="1200" b="0" dirty="0" err="1">
              <a:cs typeface="Calibri" panose="020F0502020204030204" pitchFamily="34" charset="0"/>
            </a:rPr>
            <a:t>Purpose</a:t>
          </a:r>
          <a:r>
            <a:rPr lang="es-ES" sz="1200" b="0" dirty="0">
              <a:cs typeface="Calibri" panose="020F0502020204030204" pitchFamily="34" charset="0"/>
            </a:rPr>
            <a:t> / Mi </a:t>
          </a:r>
          <a:r>
            <a:rPr lang="es-ES" sz="1200" b="0" dirty="0" err="1">
              <a:cs typeface="Calibri" panose="020F0502020204030204" pitchFamily="34" charset="0"/>
            </a:rPr>
            <a:t>proposito</a:t>
          </a:r>
          <a:endParaRPr lang="es-ES" sz="1200" b="0" dirty="0">
            <a:cs typeface="Calibri" panose="020F0502020204030204" pitchFamily="34" charset="0"/>
          </a:endParaRPr>
        </a:p>
        <a:p>
          <a:pPr>
            <a:buFont typeface="Wingdings" panose="05000000000000000000" pitchFamily="2" charset="2"/>
            <a:buChar char="ü"/>
          </a:pPr>
          <a:r>
            <a:rPr lang="es-ES" sz="1200" b="0" dirty="0">
              <a:cs typeface="Calibri" panose="020F0502020204030204" pitchFamily="34" charset="0"/>
            </a:rPr>
            <a:t> </a:t>
          </a:r>
          <a:endParaRPr lang="en-US" sz="1200" b="0" dirty="0">
            <a:latin typeface="Arial" panose="020B0604020202020204" pitchFamily="34" charset="0"/>
            <a:cs typeface="Arial" panose="020B0604020202020204" pitchFamily="34" charset="0"/>
          </a:endParaRPr>
        </a:p>
      </dgm:t>
    </dgm:pt>
    <dgm:pt modelId="{234E3E93-2D06-4566-A68E-E74545BEFF37}" type="parTrans" cxnId="{D50BD83D-351C-49C2-82CE-F26BC52B3109}">
      <dgm:prSet/>
      <dgm:spPr/>
      <dgm:t>
        <a:bodyPr/>
        <a:lstStyle/>
        <a:p>
          <a:endParaRPr lang="en-US" sz="1600" b="1">
            <a:latin typeface="Arial" panose="020B0604020202020204" pitchFamily="34" charset="0"/>
            <a:cs typeface="Arial" panose="020B0604020202020204" pitchFamily="34" charset="0"/>
          </a:endParaRPr>
        </a:p>
      </dgm:t>
    </dgm:pt>
    <dgm:pt modelId="{073273A6-F27D-455A-8E60-521BD4AEC9AB}" type="sibTrans" cxnId="{D50BD83D-351C-49C2-82CE-F26BC52B3109}">
      <dgm:prSet/>
      <dgm:spPr/>
      <dgm:t>
        <a:bodyPr/>
        <a:lstStyle/>
        <a:p>
          <a:endParaRPr lang="en-US" sz="1600" b="1">
            <a:latin typeface="Arial" panose="020B0604020202020204" pitchFamily="34" charset="0"/>
            <a:cs typeface="Arial" panose="020B0604020202020204" pitchFamily="34" charset="0"/>
          </a:endParaRPr>
        </a:p>
      </dgm:t>
    </dgm:pt>
    <dgm:pt modelId="{A9EC9AF1-0577-46F6-A108-6DB536331303}">
      <dgm:prSet phldrT="[Text]" custT="1"/>
      <dgm:spPr/>
      <dgm:t>
        <a:bodyPr/>
        <a:lstStyle/>
        <a:p>
          <a:r>
            <a:rPr lang="es-ES" sz="1200" dirty="0">
              <a:cs typeface="Calibri" panose="020F0502020204030204" pitchFamily="34" charset="0"/>
            </a:rPr>
            <a:t>Eficiencias en tiempos de </a:t>
          </a:r>
          <a:r>
            <a:rPr lang="es-ES" sz="1200" dirty="0" err="1">
              <a:cs typeface="Calibri" panose="020F0502020204030204" pitchFamily="34" charset="0"/>
            </a:rPr>
            <a:t>picking</a:t>
          </a:r>
          <a:r>
            <a:rPr lang="es-ES" sz="1200" dirty="0">
              <a:cs typeface="Calibri" panose="020F0502020204030204" pitchFamily="34" charset="0"/>
            </a:rPr>
            <a:t>, carga y descarga</a:t>
          </a:r>
        </a:p>
        <a:p>
          <a:r>
            <a:rPr lang="es-ES" sz="1200" dirty="0">
              <a:cs typeface="Calibri" panose="020F0502020204030204" pitchFamily="34" charset="0"/>
            </a:rPr>
            <a:t>Optimo </a:t>
          </a:r>
          <a:r>
            <a:rPr lang="es-ES" sz="1200" dirty="0" err="1">
              <a:cs typeface="Calibri" panose="020F0502020204030204" pitchFamily="34" charset="0"/>
            </a:rPr>
            <a:t>Layout</a:t>
          </a:r>
          <a:r>
            <a:rPr lang="es-ES" sz="1200" dirty="0">
              <a:cs typeface="Calibri" panose="020F0502020204030204" pitchFamily="34" charset="0"/>
            </a:rPr>
            <a:t> </a:t>
          </a:r>
        </a:p>
        <a:p>
          <a:pPr>
            <a:buFont typeface="Wingdings" panose="05000000000000000000" pitchFamily="2" charset="2"/>
            <a:buChar char="ü"/>
          </a:pPr>
          <a:r>
            <a:rPr lang="es-ES" sz="1200" dirty="0">
              <a:cs typeface="Calibri" panose="020F0502020204030204" pitchFamily="34" charset="0"/>
            </a:rPr>
            <a:t>Correcta planificación y distribución de turnos</a:t>
          </a:r>
          <a:endParaRPr lang="en-US" sz="1200" b="1" dirty="0">
            <a:latin typeface="Arial" panose="020B0604020202020204" pitchFamily="34" charset="0"/>
            <a:cs typeface="Arial" panose="020B0604020202020204" pitchFamily="34" charset="0"/>
          </a:endParaRPr>
        </a:p>
      </dgm:t>
    </dgm:pt>
    <dgm:pt modelId="{86397E2A-8116-4136-A723-AA15AFE0128A}" type="parTrans" cxnId="{24F5E0B7-6D8A-40B6-A71C-8C11D1460AC2}">
      <dgm:prSet/>
      <dgm:spPr/>
      <dgm:t>
        <a:bodyPr/>
        <a:lstStyle/>
        <a:p>
          <a:endParaRPr lang="en-US" sz="1600" b="1">
            <a:latin typeface="Arial" panose="020B0604020202020204" pitchFamily="34" charset="0"/>
            <a:cs typeface="Arial" panose="020B0604020202020204" pitchFamily="34" charset="0"/>
          </a:endParaRPr>
        </a:p>
      </dgm:t>
    </dgm:pt>
    <dgm:pt modelId="{F28CDB61-FC18-4967-A2E6-1016841EC919}" type="sibTrans" cxnId="{24F5E0B7-6D8A-40B6-A71C-8C11D1460AC2}">
      <dgm:prSet/>
      <dgm:spPr/>
      <dgm:t>
        <a:bodyPr/>
        <a:lstStyle/>
        <a:p>
          <a:endParaRPr lang="en-US" sz="1600" b="1">
            <a:latin typeface="Arial" panose="020B0604020202020204" pitchFamily="34" charset="0"/>
            <a:cs typeface="Arial" panose="020B0604020202020204" pitchFamily="34" charset="0"/>
          </a:endParaRPr>
        </a:p>
      </dgm:t>
    </dgm:pt>
    <dgm:pt modelId="{7AC982CD-3D25-49C0-A168-45F8A569020F}">
      <dgm:prSet phldrT="[Text]" custT="1"/>
      <dgm:spPr/>
      <dgm:t>
        <a:bodyPr/>
        <a:lstStyle/>
        <a:p>
          <a:r>
            <a:rPr lang="es-ES" sz="1200" b="0" kern="1200" dirty="0">
              <a:cs typeface="Calibri" panose="020F0502020204030204" pitchFamily="34" charset="0"/>
            </a:rPr>
            <a:t>Gestión </a:t>
          </a:r>
          <a:r>
            <a:rPr lang="es-ES" sz="1200" b="0" kern="1200" dirty="0" err="1">
              <a:cs typeface="Calibri" panose="020F0502020204030204" pitchFamily="34" charset="0"/>
            </a:rPr>
            <a:t>SMObs</a:t>
          </a:r>
          <a:r>
            <a:rPr lang="es-ES" sz="1200" b="0" kern="1200" dirty="0">
              <a:cs typeface="Calibri" panose="020F0502020204030204" pitchFamily="34" charset="0"/>
            </a:rPr>
            <a:t>, Inventario Bloqueado</a:t>
          </a:r>
          <a:endParaRPr lang="es-ES" sz="1200" b="0" kern="1200" dirty="0">
            <a:solidFill>
              <a:prstClr val="white"/>
            </a:solidFill>
            <a:latin typeface="Arial" panose="020B0604020202020204"/>
            <a:ea typeface="+mn-ea"/>
            <a:cs typeface="Calibri" panose="020F0502020204030204" pitchFamily="34" charset="0"/>
          </a:endParaRPr>
        </a:p>
        <a:p>
          <a:r>
            <a:rPr lang="es-ES" sz="1200" b="0" kern="1200" dirty="0">
              <a:solidFill>
                <a:prstClr val="white"/>
              </a:solidFill>
              <a:latin typeface="Arial" panose="020B0604020202020204"/>
              <a:ea typeface="+mn-ea"/>
              <a:cs typeface="Calibri" panose="020F0502020204030204" pitchFamily="34" charset="0"/>
            </a:rPr>
            <a:t>Correcto almacenamiento y manejo WMS</a:t>
          </a:r>
          <a:endParaRPr lang="en-US" sz="1200" b="0" kern="1200" dirty="0">
            <a:solidFill>
              <a:prstClr val="white"/>
            </a:solidFill>
            <a:latin typeface="Arial" panose="020B0604020202020204"/>
            <a:ea typeface="+mn-ea"/>
            <a:cs typeface="Calibri" panose="020F0502020204030204" pitchFamily="34" charset="0"/>
          </a:endParaRPr>
        </a:p>
      </dgm:t>
    </dgm:pt>
    <dgm:pt modelId="{E6F9C343-05EE-4977-9FF9-96D7EDC73C6A}" type="parTrans" cxnId="{4B077024-D51D-445A-9E5E-8599FD64457E}">
      <dgm:prSet/>
      <dgm:spPr/>
      <dgm:t>
        <a:bodyPr/>
        <a:lstStyle/>
        <a:p>
          <a:endParaRPr lang="en-US" sz="1600" b="1">
            <a:latin typeface="Arial" panose="020B0604020202020204" pitchFamily="34" charset="0"/>
            <a:cs typeface="Arial" panose="020B0604020202020204" pitchFamily="34" charset="0"/>
          </a:endParaRPr>
        </a:p>
      </dgm:t>
    </dgm:pt>
    <dgm:pt modelId="{A904653D-8B05-4BED-804A-1FBF1B854CF1}" type="sibTrans" cxnId="{4B077024-D51D-445A-9E5E-8599FD64457E}">
      <dgm:prSet/>
      <dgm:spPr/>
      <dgm:t>
        <a:bodyPr/>
        <a:lstStyle/>
        <a:p>
          <a:endParaRPr lang="en-US" sz="1600" b="1">
            <a:latin typeface="Arial" panose="020B0604020202020204" pitchFamily="34" charset="0"/>
            <a:cs typeface="Arial" panose="020B0604020202020204" pitchFamily="34" charset="0"/>
          </a:endParaRPr>
        </a:p>
      </dgm:t>
    </dgm:pt>
    <dgm:pt modelId="{6A6986C9-B471-4D46-9600-28F8CC6F7A28}">
      <dgm:prSet phldrT="[Text]" custT="1"/>
      <dgm:spPr/>
      <dgm:t>
        <a:bodyPr/>
        <a:lstStyle/>
        <a:p>
          <a:r>
            <a:rPr lang="es-AR" sz="1200" b="0" noProof="0" dirty="0">
              <a:latin typeface="Arial" panose="020B0604020202020204" pitchFamily="34" charset="0"/>
              <a:cs typeface="Arial" panose="020B0604020202020204" pitchFamily="34" charset="0"/>
            </a:rPr>
            <a:t>Eficiencias logísticas, nuevas ideas</a:t>
          </a:r>
        </a:p>
      </dgm:t>
    </dgm:pt>
    <dgm:pt modelId="{0018334A-3390-4F30-B332-583170B98772}" type="parTrans" cxnId="{0A23AA90-A6FA-4481-8E93-88EDD3E3C30B}">
      <dgm:prSet/>
      <dgm:spPr/>
      <dgm:t>
        <a:bodyPr/>
        <a:lstStyle/>
        <a:p>
          <a:endParaRPr lang="es-CL"/>
        </a:p>
      </dgm:t>
    </dgm:pt>
    <dgm:pt modelId="{26E9FDEE-090B-4FEA-96B2-606EE023CC65}" type="sibTrans" cxnId="{0A23AA90-A6FA-4481-8E93-88EDD3E3C30B}">
      <dgm:prSet/>
      <dgm:spPr/>
      <dgm:t>
        <a:bodyPr/>
        <a:lstStyle/>
        <a:p>
          <a:endParaRPr lang="es-CL"/>
        </a:p>
      </dgm:t>
    </dgm:pt>
    <dgm:pt modelId="{BE1D83AB-E59D-4301-8702-83456EBCAC36}" type="pres">
      <dgm:prSet presAssocID="{E86DE45A-9A35-4F83-B59C-17B42F1F750C}" presName="Name0" presStyleCnt="0">
        <dgm:presLayoutVars>
          <dgm:chMax val="7"/>
          <dgm:chPref val="7"/>
          <dgm:dir/>
        </dgm:presLayoutVars>
      </dgm:prSet>
      <dgm:spPr/>
    </dgm:pt>
    <dgm:pt modelId="{82280448-D9B6-4A73-B667-3E2D7D949265}" type="pres">
      <dgm:prSet presAssocID="{E86DE45A-9A35-4F83-B59C-17B42F1F750C}" presName="Name1" presStyleCnt="0"/>
      <dgm:spPr/>
    </dgm:pt>
    <dgm:pt modelId="{2198F85C-1BE5-43CB-86E4-5076A68D4320}" type="pres">
      <dgm:prSet presAssocID="{E86DE45A-9A35-4F83-B59C-17B42F1F750C}" presName="cycle" presStyleCnt="0"/>
      <dgm:spPr/>
    </dgm:pt>
    <dgm:pt modelId="{6329B08B-A731-4FA1-8AAC-DE996D09C12B}" type="pres">
      <dgm:prSet presAssocID="{E86DE45A-9A35-4F83-B59C-17B42F1F750C}" presName="srcNode" presStyleLbl="node1" presStyleIdx="0" presStyleCnt="4"/>
      <dgm:spPr/>
    </dgm:pt>
    <dgm:pt modelId="{E7247F0A-9AE9-4958-88CF-19349929C5BC}" type="pres">
      <dgm:prSet presAssocID="{E86DE45A-9A35-4F83-B59C-17B42F1F750C}" presName="conn" presStyleLbl="parChTrans1D2" presStyleIdx="0" presStyleCnt="1" custLinFactX="35340" custLinFactNeighborX="100000" custLinFactNeighborY="-767"/>
      <dgm:spPr/>
    </dgm:pt>
    <dgm:pt modelId="{C5290EF4-2DA8-4EC1-BD75-D632E57C0D6B}" type="pres">
      <dgm:prSet presAssocID="{E86DE45A-9A35-4F83-B59C-17B42F1F750C}" presName="extraNode" presStyleLbl="node1" presStyleIdx="0" presStyleCnt="4"/>
      <dgm:spPr/>
    </dgm:pt>
    <dgm:pt modelId="{958C9B21-3136-4D0B-8537-436675E2F8B9}" type="pres">
      <dgm:prSet presAssocID="{E86DE45A-9A35-4F83-B59C-17B42F1F750C}" presName="dstNode" presStyleLbl="node1" presStyleIdx="0" presStyleCnt="4"/>
      <dgm:spPr/>
    </dgm:pt>
    <dgm:pt modelId="{954BDF67-27B3-488E-AC22-F39C12EC3263}" type="pres">
      <dgm:prSet presAssocID="{F5AC8656-0E58-45F0-9424-3B9D4E8A4BCB}" presName="text_1" presStyleLbl="node1" presStyleIdx="0" presStyleCnt="4">
        <dgm:presLayoutVars>
          <dgm:bulletEnabled val="1"/>
        </dgm:presLayoutVars>
      </dgm:prSet>
      <dgm:spPr/>
    </dgm:pt>
    <dgm:pt modelId="{DFFEA637-12BF-40D5-86C3-AC79B400778A}" type="pres">
      <dgm:prSet presAssocID="{F5AC8656-0E58-45F0-9424-3B9D4E8A4BCB}" presName="accent_1" presStyleCnt="0"/>
      <dgm:spPr/>
    </dgm:pt>
    <dgm:pt modelId="{D418B5BE-B21E-4046-A0AD-023429D3C79F}" type="pres">
      <dgm:prSet presAssocID="{F5AC8656-0E58-45F0-9424-3B9D4E8A4BCB}" presName="accentRepeatNode" presStyleLbl="solidFgAcc1" presStyleIdx="0" presStyleCnt="4" custLinFactX="200000" custLinFactY="-30181" custLinFactNeighborX="241489" custLinFactNeighborY="-100000"/>
      <dgm:spPr/>
    </dgm:pt>
    <dgm:pt modelId="{3A52D610-B823-46B5-B1D4-486BBCBD5DBB}" type="pres">
      <dgm:prSet presAssocID="{A9EC9AF1-0577-46F6-A108-6DB536331303}" presName="text_2" presStyleLbl="node1" presStyleIdx="1" presStyleCnt="4" custScaleX="108379" custLinFactNeighborX="-3968">
        <dgm:presLayoutVars>
          <dgm:bulletEnabled val="1"/>
        </dgm:presLayoutVars>
      </dgm:prSet>
      <dgm:spPr/>
    </dgm:pt>
    <dgm:pt modelId="{38148416-B8B6-4538-AB31-8DEA0FAC23DE}" type="pres">
      <dgm:prSet presAssocID="{A9EC9AF1-0577-46F6-A108-6DB536331303}" presName="accent_2" presStyleCnt="0"/>
      <dgm:spPr/>
    </dgm:pt>
    <dgm:pt modelId="{9F6D53BC-B7FD-4581-845B-9DE1F23B2376}" type="pres">
      <dgm:prSet presAssocID="{A9EC9AF1-0577-46F6-A108-6DB536331303}" presName="accentRepeatNode" presStyleLbl="solidFgAcc1" presStyleIdx="1" presStyleCnt="4" custLinFactNeighborX="-45253" custLinFactNeighborY="4641"/>
      <dgm:spPr>
        <a:blipFill rotWithShape="0">
          <a:blip xmlns:r="http://schemas.openxmlformats.org/officeDocument/2006/relationships" r:embed="rId1"/>
          <a:srcRect/>
          <a:stretch>
            <a:fillRect t="-2000" b="-2000"/>
          </a:stretch>
        </a:blipFill>
      </dgm:spPr>
    </dgm:pt>
    <dgm:pt modelId="{14B47C29-1245-4FD4-955E-919550E15DE5}" type="pres">
      <dgm:prSet presAssocID="{7AC982CD-3D25-49C0-A168-45F8A569020F}" presName="text_3" presStyleLbl="node1" presStyleIdx="2" presStyleCnt="4" custScaleX="106045" custLinFactNeighborX="-1984">
        <dgm:presLayoutVars>
          <dgm:bulletEnabled val="1"/>
        </dgm:presLayoutVars>
      </dgm:prSet>
      <dgm:spPr/>
    </dgm:pt>
    <dgm:pt modelId="{A03BCF8B-F1E4-4FAE-96D5-76747C71AD1A}" type="pres">
      <dgm:prSet presAssocID="{7AC982CD-3D25-49C0-A168-45F8A569020F}" presName="accent_3" presStyleCnt="0"/>
      <dgm:spPr/>
    </dgm:pt>
    <dgm:pt modelId="{372AFAE5-5FBB-4ACF-B28E-A0D1EA93AC3F}" type="pres">
      <dgm:prSet presAssocID="{7AC982CD-3D25-49C0-A168-45F8A569020F}" presName="accentRepeatNode" presStyleLbl="solidFgAcc1" presStyleIdx="2" presStyleCnt="4" custLinFactNeighborX="-42572" custLinFactNeighborY="-1249"/>
      <dgm:spPr>
        <a:blipFill rotWithShape="0">
          <a:blip xmlns:r="http://schemas.openxmlformats.org/officeDocument/2006/relationships" r:embed="rId2"/>
          <a:srcRect/>
          <a:stretch>
            <a:fillRect l="-24000" r="-24000"/>
          </a:stretch>
        </a:blipFill>
      </dgm:spPr>
    </dgm:pt>
    <dgm:pt modelId="{AFA953E7-1E64-4FB0-8609-710682673AF3}" type="pres">
      <dgm:prSet presAssocID="{6A6986C9-B471-4D46-9600-28F8CC6F7A28}" presName="text_4" presStyleLbl="node1" presStyleIdx="3" presStyleCnt="4" custScaleX="103031">
        <dgm:presLayoutVars>
          <dgm:bulletEnabled val="1"/>
        </dgm:presLayoutVars>
      </dgm:prSet>
      <dgm:spPr/>
    </dgm:pt>
    <dgm:pt modelId="{667EA731-5F91-4C42-A5A1-96A0D1D2B1EB}" type="pres">
      <dgm:prSet presAssocID="{6A6986C9-B471-4D46-9600-28F8CC6F7A28}" presName="accent_4" presStyleCnt="0"/>
      <dgm:spPr/>
    </dgm:pt>
    <dgm:pt modelId="{D5C38E48-BB1E-4588-968F-F76820E062D7}" type="pres">
      <dgm:prSet presAssocID="{6A6986C9-B471-4D46-9600-28F8CC6F7A28}" presName="accentRepeatNode" presStyleLbl="solidFgAcc1" presStyleIdx="3" presStyleCnt="4"/>
      <dgm:spPr>
        <a:blipFill rotWithShape="0">
          <a:blip xmlns:r="http://schemas.openxmlformats.org/officeDocument/2006/relationships" r:embed="rId3"/>
          <a:srcRect/>
          <a:stretch>
            <a:fillRect l="-2000" r="-2000"/>
          </a:stretch>
        </a:blipFill>
      </dgm:spPr>
    </dgm:pt>
  </dgm:ptLst>
  <dgm:cxnLst>
    <dgm:cxn modelId="{C659A111-374A-419D-9509-129A614268EE}" type="presOf" srcId="{A9EC9AF1-0577-46F6-A108-6DB536331303}" destId="{3A52D610-B823-46B5-B1D4-486BBCBD5DBB}" srcOrd="0" destOrd="0" presId="urn:microsoft.com/office/officeart/2008/layout/VerticalCurvedList"/>
    <dgm:cxn modelId="{77CDB51B-DEC3-4A40-8A7C-DDD668EA9BB9}" type="presOf" srcId="{6A6986C9-B471-4D46-9600-28F8CC6F7A28}" destId="{AFA953E7-1E64-4FB0-8609-710682673AF3}" srcOrd="0" destOrd="0" presId="urn:microsoft.com/office/officeart/2008/layout/VerticalCurvedList"/>
    <dgm:cxn modelId="{4B077024-D51D-445A-9E5E-8599FD64457E}" srcId="{E86DE45A-9A35-4F83-B59C-17B42F1F750C}" destId="{7AC982CD-3D25-49C0-A168-45F8A569020F}" srcOrd="2" destOrd="0" parTransId="{E6F9C343-05EE-4977-9FF9-96D7EDC73C6A}" sibTransId="{A904653D-8B05-4BED-804A-1FBF1B854CF1}"/>
    <dgm:cxn modelId="{D50BD83D-351C-49C2-82CE-F26BC52B3109}" srcId="{E86DE45A-9A35-4F83-B59C-17B42F1F750C}" destId="{F5AC8656-0E58-45F0-9424-3B9D4E8A4BCB}" srcOrd="0" destOrd="0" parTransId="{234E3E93-2D06-4566-A68E-E74545BEFF37}" sibTransId="{073273A6-F27D-455A-8E60-521BD4AEC9AB}"/>
    <dgm:cxn modelId="{8CB2AE7C-BF09-4102-81D6-5E7109CE5706}" type="presOf" srcId="{7AC982CD-3D25-49C0-A168-45F8A569020F}" destId="{14B47C29-1245-4FD4-955E-919550E15DE5}" srcOrd="0" destOrd="0" presId="urn:microsoft.com/office/officeart/2008/layout/VerticalCurvedList"/>
    <dgm:cxn modelId="{0A23AA90-A6FA-4481-8E93-88EDD3E3C30B}" srcId="{E86DE45A-9A35-4F83-B59C-17B42F1F750C}" destId="{6A6986C9-B471-4D46-9600-28F8CC6F7A28}" srcOrd="3" destOrd="0" parTransId="{0018334A-3390-4F30-B332-583170B98772}" sibTransId="{26E9FDEE-090B-4FEA-96B2-606EE023CC65}"/>
    <dgm:cxn modelId="{AFAF4D9F-3FA1-4E7E-90ED-FC98B6D8F065}" type="presOf" srcId="{E86DE45A-9A35-4F83-B59C-17B42F1F750C}" destId="{BE1D83AB-E59D-4301-8702-83456EBCAC36}" srcOrd="0" destOrd="0" presId="urn:microsoft.com/office/officeart/2008/layout/VerticalCurvedList"/>
    <dgm:cxn modelId="{3B604BB3-CB0D-470E-9588-EC83E1956B42}" type="presOf" srcId="{F5AC8656-0E58-45F0-9424-3B9D4E8A4BCB}" destId="{954BDF67-27B3-488E-AC22-F39C12EC3263}" srcOrd="0" destOrd="0" presId="urn:microsoft.com/office/officeart/2008/layout/VerticalCurvedList"/>
    <dgm:cxn modelId="{24F5E0B7-6D8A-40B6-A71C-8C11D1460AC2}" srcId="{E86DE45A-9A35-4F83-B59C-17B42F1F750C}" destId="{A9EC9AF1-0577-46F6-A108-6DB536331303}" srcOrd="1" destOrd="0" parTransId="{86397E2A-8116-4136-A723-AA15AFE0128A}" sibTransId="{F28CDB61-FC18-4967-A2E6-1016841EC919}"/>
    <dgm:cxn modelId="{13DF61BA-9172-4EFF-A838-3CA37D985421}" type="presOf" srcId="{073273A6-F27D-455A-8E60-521BD4AEC9AB}" destId="{E7247F0A-9AE9-4958-88CF-19349929C5BC}" srcOrd="0" destOrd="0" presId="urn:microsoft.com/office/officeart/2008/layout/VerticalCurvedList"/>
    <dgm:cxn modelId="{351E6DE5-61BA-417E-8C1A-25DC683B8B21}" type="presParOf" srcId="{BE1D83AB-E59D-4301-8702-83456EBCAC36}" destId="{82280448-D9B6-4A73-B667-3E2D7D949265}" srcOrd="0" destOrd="0" presId="urn:microsoft.com/office/officeart/2008/layout/VerticalCurvedList"/>
    <dgm:cxn modelId="{90DCC042-51C0-47E1-A6D0-EC243014FFA4}" type="presParOf" srcId="{82280448-D9B6-4A73-B667-3E2D7D949265}" destId="{2198F85C-1BE5-43CB-86E4-5076A68D4320}" srcOrd="0" destOrd="0" presId="urn:microsoft.com/office/officeart/2008/layout/VerticalCurvedList"/>
    <dgm:cxn modelId="{90977152-455D-437F-A9F0-B8B2C3B0C9FC}" type="presParOf" srcId="{2198F85C-1BE5-43CB-86E4-5076A68D4320}" destId="{6329B08B-A731-4FA1-8AAC-DE996D09C12B}" srcOrd="0" destOrd="0" presId="urn:microsoft.com/office/officeart/2008/layout/VerticalCurvedList"/>
    <dgm:cxn modelId="{EB10314F-6ECE-4CAA-9523-034CF0597DC2}" type="presParOf" srcId="{2198F85C-1BE5-43CB-86E4-5076A68D4320}" destId="{E7247F0A-9AE9-4958-88CF-19349929C5BC}" srcOrd="1" destOrd="0" presId="urn:microsoft.com/office/officeart/2008/layout/VerticalCurvedList"/>
    <dgm:cxn modelId="{24956C8D-C323-417A-B4EF-AE62285CC751}" type="presParOf" srcId="{2198F85C-1BE5-43CB-86E4-5076A68D4320}" destId="{C5290EF4-2DA8-4EC1-BD75-D632E57C0D6B}" srcOrd="2" destOrd="0" presId="urn:microsoft.com/office/officeart/2008/layout/VerticalCurvedList"/>
    <dgm:cxn modelId="{5B5A411C-F8FA-465C-8C81-D9BB07B54AA7}" type="presParOf" srcId="{2198F85C-1BE5-43CB-86E4-5076A68D4320}" destId="{958C9B21-3136-4D0B-8537-436675E2F8B9}" srcOrd="3" destOrd="0" presId="urn:microsoft.com/office/officeart/2008/layout/VerticalCurvedList"/>
    <dgm:cxn modelId="{3B23D9A4-A945-4297-B312-818B38C39779}" type="presParOf" srcId="{82280448-D9B6-4A73-B667-3E2D7D949265}" destId="{954BDF67-27B3-488E-AC22-F39C12EC3263}" srcOrd="1" destOrd="0" presId="urn:microsoft.com/office/officeart/2008/layout/VerticalCurvedList"/>
    <dgm:cxn modelId="{EAB01BCE-B647-4072-A27C-CA3565AF5C1A}" type="presParOf" srcId="{82280448-D9B6-4A73-B667-3E2D7D949265}" destId="{DFFEA637-12BF-40D5-86C3-AC79B400778A}" srcOrd="2" destOrd="0" presId="urn:microsoft.com/office/officeart/2008/layout/VerticalCurvedList"/>
    <dgm:cxn modelId="{10A502D3-7F64-41E3-9170-094861F988EB}" type="presParOf" srcId="{DFFEA637-12BF-40D5-86C3-AC79B400778A}" destId="{D418B5BE-B21E-4046-A0AD-023429D3C79F}" srcOrd="0" destOrd="0" presId="urn:microsoft.com/office/officeart/2008/layout/VerticalCurvedList"/>
    <dgm:cxn modelId="{AFAC6FD6-19A0-4AD0-821B-CFE4FAD44C2B}" type="presParOf" srcId="{82280448-D9B6-4A73-B667-3E2D7D949265}" destId="{3A52D610-B823-46B5-B1D4-486BBCBD5DBB}" srcOrd="3" destOrd="0" presId="urn:microsoft.com/office/officeart/2008/layout/VerticalCurvedList"/>
    <dgm:cxn modelId="{5D1DDA4A-0F2C-4A20-9B68-32FC6B9C47AB}" type="presParOf" srcId="{82280448-D9B6-4A73-B667-3E2D7D949265}" destId="{38148416-B8B6-4538-AB31-8DEA0FAC23DE}" srcOrd="4" destOrd="0" presId="urn:microsoft.com/office/officeart/2008/layout/VerticalCurvedList"/>
    <dgm:cxn modelId="{822FC993-D042-4CA3-ACA8-B3A97F6404D6}" type="presParOf" srcId="{38148416-B8B6-4538-AB31-8DEA0FAC23DE}" destId="{9F6D53BC-B7FD-4581-845B-9DE1F23B2376}" srcOrd="0" destOrd="0" presId="urn:microsoft.com/office/officeart/2008/layout/VerticalCurvedList"/>
    <dgm:cxn modelId="{AC825204-CA39-431E-8CF8-2612002D9886}" type="presParOf" srcId="{82280448-D9B6-4A73-B667-3E2D7D949265}" destId="{14B47C29-1245-4FD4-955E-919550E15DE5}" srcOrd="5" destOrd="0" presId="urn:microsoft.com/office/officeart/2008/layout/VerticalCurvedList"/>
    <dgm:cxn modelId="{ABCC747D-C228-4EF4-AEB6-B73DF354EDB2}" type="presParOf" srcId="{82280448-D9B6-4A73-B667-3E2D7D949265}" destId="{A03BCF8B-F1E4-4FAE-96D5-76747C71AD1A}" srcOrd="6" destOrd="0" presId="urn:microsoft.com/office/officeart/2008/layout/VerticalCurvedList"/>
    <dgm:cxn modelId="{C1B39915-83A5-4CB3-AF65-6CB92B50939A}" type="presParOf" srcId="{A03BCF8B-F1E4-4FAE-96D5-76747C71AD1A}" destId="{372AFAE5-5FBB-4ACF-B28E-A0D1EA93AC3F}" srcOrd="0" destOrd="0" presId="urn:microsoft.com/office/officeart/2008/layout/VerticalCurvedList"/>
    <dgm:cxn modelId="{3E087D5D-84B7-4810-943B-3AB0B5F20893}" type="presParOf" srcId="{82280448-D9B6-4A73-B667-3E2D7D949265}" destId="{AFA953E7-1E64-4FB0-8609-710682673AF3}" srcOrd="7" destOrd="0" presId="urn:microsoft.com/office/officeart/2008/layout/VerticalCurvedList"/>
    <dgm:cxn modelId="{D2AAFB0B-43BA-4957-BF24-957CA36FC7CE}" type="presParOf" srcId="{82280448-D9B6-4A73-B667-3E2D7D949265}" destId="{667EA731-5F91-4C42-A5A1-96A0D1D2B1EB}" srcOrd="8" destOrd="0" presId="urn:microsoft.com/office/officeart/2008/layout/VerticalCurvedList"/>
    <dgm:cxn modelId="{B50735EA-FB0C-40EA-AD59-993584576709}" type="presParOf" srcId="{667EA731-5F91-4C42-A5A1-96A0D1D2B1EB}" destId="{D5C38E48-BB1E-4588-968F-F76820E062D7}"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6DE45A-9A35-4F83-B59C-17B42F1F750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F5AC8656-0E58-45F0-9424-3B9D4E8A4BCB}">
      <dgm:prSet phldrT="[Text]" custT="1"/>
      <dgm:spPr>
        <a:solidFill>
          <a:schemeClr val="accent1"/>
        </a:solidFill>
      </dgm:spPr>
      <dgm:t>
        <a:bodyPr/>
        <a:lstStyle/>
        <a:p>
          <a:pPr algn="l"/>
          <a:r>
            <a:rPr lang="es-ES" sz="1200" b="0" dirty="0">
              <a:cs typeface="Calibri" panose="020F0502020204030204" pitchFamily="34" charset="0"/>
            </a:rPr>
            <a:t>PERSONAL</a:t>
          </a:r>
          <a:endParaRPr lang="en-US" sz="1200" b="0" dirty="0">
            <a:latin typeface="Arial" panose="020B0604020202020204" pitchFamily="34" charset="0"/>
            <a:cs typeface="Arial" panose="020B0604020202020204" pitchFamily="34" charset="0"/>
          </a:endParaRPr>
        </a:p>
      </dgm:t>
    </dgm:pt>
    <dgm:pt modelId="{234E3E93-2D06-4566-A68E-E74545BEFF37}" type="parTrans" cxnId="{D50BD83D-351C-49C2-82CE-F26BC52B3109}">
      <dgm:prSet/>
      <dgm:spPr/>
      <dgm:t>
        <a:bodyPr/>
        <a:lstStyle/>
        <a:p>
          <a:endParaRPr lang="en-US" sz="1600" b="1">
            <a:latin typeface="Arial" panose="020B0604020202020204" pitchFamily="34" charset="0"/>
            <a:cs typeface="Arial" panose="020B0604020202020204" pitchFamily="34" charset="0"/>
          </a:endParaRPr>
        </a:p>
      </dgm:t>
    </dgm:pt>
    <dgm:pt modelId="{073273A6-F27D-455A-8E60-521BD4AEC9AB}" type="sibTrans" cxnId="{D50BD83D-351C-49C2-82CE-F26BC52B3109}">
      <dgm:prSet/>
      <dgm:spPr/>
      <dgm:t>
        <a:bodyPr/>
        <a:lstStyle/>
        <a:p>
          <a:endParaRPr lang="en-US" sz="1600" b="1">
            <a:latin typeface="Arial" panose="020B0604020202020204" pitchFamily="34" charset="0"/>
            <a:cs typeface="Arial" panose="020B0604020202020204" pitchFamily="34" charset="0"/>
          </a:endParaRPr>
        </a:p>
      </dgm:t>
    </dgm:pt>
    <dgm:pt modelId="{A9EC9AF1-0577-46F6-A108-6DB536331303}">
      <dgm:prSet phldrT="[Text]" custT="1"/>
      <dgm:spPr/>
      <dgm:t>
        <a:bodyPr/>
        <a:lstStyle/>
        <a:p>
          <a:pPr algn="ctr"/>
          <a:r>
            <a:rPr lang="es-ES" sz="1200" dirty="0">
              <a:cs typeface="Calibri" panose="020F0502020204030204" pitchFamily="34" charset="0"/>
            </a:rPr>
            <a:t>ORGANIZACIONAL</a:t>
          </a:r>
          <a:endParaRPr lang="en-US" sz="1200" b="1" dirty="0">
            <a:latin typeface="Arial" panose="020B0604020202020204" pitchFamily="34" charset="0"/>
            <a:cs typeface="Arial" panose="020B0604020202020204" pitchFamily="34" charset="0"/>
          </a:endParaRPr>
        </a:p>
      </dgm:t>
    </dgm:pt>
    <dgm:pt modelId="{86397E2A-8116-4136-A723-AA15AFE0128A}" type="parTrans" cxnId="{24F5E0B7-6D8A-40B6-A71C-8C11D1460AC2}">
      <dgm:prSet/>
      <dgm:spPr/>
      <dgm:t>
        <a:bodyPr/>
        <a:lstStyle/>
        <a:p>
          <a:endParaRPr lang="en-US" sz="1600" b="1">
            <a:latin typeface="Arial" panose="020B0604020202020204" pitchFamily="34" charset="0"/>
            <a:cs typeface="Arial" panose="020B0604020202020204" pitchFamily="34" charset="0"/>
          </a:endParaRPr>
        </a:p>
      </dgm:t>
    </dgm:pt>
    <dgm:pt modelId="{F28CDB61-FC18-4967-A2E6-1016841EC919}" type="sibTrans" cxnId="{24F5E0B7-6D8A-40B6-A71C-8C11D1460AC2}">
      <dgm:prSet/>
      <dgm:spPr/>
      <dgm:t>
        <a:bodyPr/>
        <a:lstStyle/>
        <a:p>
          <a:endParaRPr lang="en-US" sz="1600" b="1">
            <a:latin typeface="Arial" panose="020B0604020202020204" pitchFamily="34" charset="0"/>
            <a:cs typeface="Arial" panose="020B0604020202020204" pitchFamily="34" charset="0"/>
          </a:endParaRPr>
        </a:p>
      </dgm:t>
    </dgm:pt>
    <dgm:pt modelId="{BE1D83AB-E59D-4301-8702-83456EBCAC36}" type="pres">
      <dgm:prSet presAssocID="{E86DE45A-9A35-4F83-B59C-17B42F1F750C}" presName="Name0" presStyleCnt="0">
        <dgm:presLayoutVars>
          <dgm:chMax val="7"/>
          <dgm:chPref val="7"/>
          <dgm:dir/>
        </dgm:presLayoutVars>
      </dgm:prSet>
      <dgm:spPr/>
    </dgm:pt>
    <dgm:pt modelId="{82280448-D9B6-4A73-B667-3E2D7D949265}" type="pres">
      <dgm:prSet presAssocID="{E86DE45A-9A35-4F83-B59C-17B42F1F750C}" presName="Name1" presStyleCnt="0"/>
      <dgm:spPr/>
    </dgm:pt>
    <dgm:pt modelId="{2198F85C-1BE5-43CB-86E4-5076A68D4320}" type="pres">
      <dgm:prSet presAssocID="{E86DE45A-9A35-4F83-B59C-17B42F1F750C}" presName="cycle" presStyleCnt="0"/>
      <dgm:spPr/>
    </dgm:pt>
    <dgm:pt modelId="{6329B08B-A731-4FA1-8AAC-DE996D09C12B}" type="pres">
      <dgm:prSet presAssocID="{E86DE45A-9A35-4F83-B59C-17B42F1F750C}" presName="srcNode" presStyleLbl="node1" presStyleIdx="0" presStyleCnt="2"/>
      <dgm:spPr/>
    </dgm:pt>
    <dgm:pt modelId="{E7247F0A-9AE9-4958-88CF-19349929C5BC}" type="pres">
      <dgm:prSet presAssocID="{E86DE45A-9A35-4F83-B59C-17B42F1F750C}" presName="conn" presStyleLbl="parChTrans1D2" presStyleIdx="0" presStyleCnt="1" custLinFactX="35340" custLinFactNeighborX="100000" custLinFactNeighborY="-767"/>
      <dgm:spPr/>
    </dgm:pt>
    <dgm:pt modelId="{C5290EF4-2DA8-4EC1-BD75-D632E57C0D6B}" type="pres">
      <dgm:prSet presAssocID="{E86DE45A-9A35-4F83-B59C-17B42F1F750C}" presName="extraNode" presStyleLbl="node1" presStyleIdx="0" presStyleCnt="2"/>
      <dgm:spPr/>
    </dgm:pt>
    <dgm:pt modelId="{958C9B21-3136-4D0B-8537-436675E2F8B9}" type="pres">
      <dgm:prSet presAssocID="{E86DE45A-9A35-4F83-B59C-17B42F1F750C}" presName="dstNode" presStyleLbl="node1" presStyleIdx="0" presStyleCnt="2"/>
      <dgm:spPr/>
    </dgm:pt>
    <dgm:pt modelId="{954BDF67-27B3-488E-AC22-F39C12EC3263}" type="pres">
      <dgm:prSet presAssocID="{F5AC8656-0E58-45F0-9424-3B9D4E8A4BCB}" presName="text_1" presStyleLbl="node1" presStyleIdx="0" presStyleCnt="2" custScaleX="49685">
        <dgm:presLayoutVars>
          <dgm:bulletEnabled val="1"/>
        </dgm:presLayoutVars>
      </dgm:prSet>
      <dgm:spPr/>
    </dgm:pt>
    <dgm:pt modelId="{DFFEA637-12BF-40D5-86C3-AC79B400778A}" type="pres">
      <dgm:prSet presAssocID="{F5AC8656-0E58-45F0-9424-3B9D4E8A4BCB}" presName="accent_1" presStyleCnt="0"/>
      <dgm:spPr/>
    </dgm:pt>
    <dgm:pt modelId="{D418B5BE-B21E-4046-A0AD-023429D3C79F}" type="pres">
      <dgm:prSet presAssocID="{F5AC8656-0E58-45F0-9424-3B9D4E8A4BCB}" presName="accentRepeatNode" presStyleLbl="solidFgAcc1" presStyleIdx="0" presStyleCnt="2" custLinFactY="65412" custLinFactNeighborX="63910" custLinFactNeighborY="100000"/>
      <dgm:spPr/>
    </dgm:pt>
    <dgm:pt modelId="{3A52D610-B823-46B5-B1D4-486BBCBD5DBB}" type="pres">
      <dgm:prSet presAssocID="{A9EC9AF1-0577-46F6-A108-6DB536331303}" presName="text_2" presStyleLbl="node1" presStyleIdx="1" presStyleCnt="2" custScaleX="58808" custLinFactNeighborX="-316" custLinFactNeighborY="-31167">
        <dgm:presLayoutVars>
          <dgm:bulletEnabled val="1"/>
        </dgm:presLayoutVars>
      </dgm:prSet>
      <dgm:spPr/>
    </dgm:pt>
    <dgm:pt modelId="{38148416-B8B6-4538-AB31-8DEA0FAC23DE}" type="pres">
      <dgm:prSet presAssocID="{A9EC9AF1-0577-46F6-A108-6DB536331303}" presName="accent_2" presStyleCnt="0"/>
      <dgm:spPr/>
    </dgm:pt>
    <dgm:pt modelId="{9F6D53BC-B7FD-4581-845B-9DE1F23B2376}" type="pres">
      <dgm:prSet presAssocID="{A9EC9AF1-0577-46F6-A108-6DB536331303}" presName="accentRepeatNode" presStyleLbl="solidFgAcc1" presStyleIdx="1" presStyleCnt="2" custLinFactX="-5531" custLinFactNeighborX="-100000" custLinFactNeighborY="-96755"/>
      <dgm:spPr/>
    </dgm:pt>
  </dgm:ptLst>
  <dgm:cxnLst>
    <dgm:cxn modelId="{C659A111-374A-419D-9509-129A614268EE}" type="presOf" srcId="{A9EC9AF1-0577-46F6-A108-6DB536331303}" destId="{3A52D610-B823-46B5-B1D4-486BBCBD5DBB}" srcOrd="0" destOrd="0" presId="urn:microsoft.com/office/officeart/2008/layout/VerticalCurvedList"/>
    <dgm:cxn modelId="{D50BD83D-351C-49C2-82CE-F26BC52B3109}" srcId="{E86DE45A-9A35-4F83-B59C-17B42F1F750C}" destId="{F5AC8656-0E58-45F0-9424-3B9D4E8A4BCB}" srcOrd="0" destOrd="0" parTransId="{234E3E93-2D06-4566-A68E-E74545BEFF37}" sibTransId="{073273A6-F27D-455A-8E60-521BD4AEC9AB}"/>
    <dgm:cxn modelId="{AFAF4D9F-3FA1-4E7E-90ED-FC98B6D8F065}" type="presOf" srcId="{E86DE45A-9A35-4F83-B59C-17B42F1F750C}" destId="{BE1D83AB-E59D-4301-8702-83456EBCAC36}" srcOrd="0" destOrd="0" presId="urn:microsoft.com/office/officeart/2008/layout/VerticalCurvedList"/>
    <dgm:cxn modelId="{3B604BB3-CB0D-470E-9588-EC83E1956B42}" type="presOf" srcId="{F5AC8656-0E58-45F0-9424-3B9D4E8A4BCB}" destId="{954BDF67-27B3-488E-AC22-F39C12EC3263}" srcOrd="0" destOrd="0" presId="urn:microsoft.com/office/officeart/2008/layout/VerticalCurvedList"/>
    <dgm:cxn modelId="{24F5E0B7-6D8A-40B6-A71C-8C11D1460AC2}" srcId="{E86DE45A-9A35-4F83-B59C-17B42F1F750C}" destId="{A9EC9AF1-0577-46F6-A108-6DB536331303}" srcOrd="1" destOrd="0" parTransId="{86397E2A-8116-4136-A723-AA15AFE0128A}" sibTransId="{F28CDB61-FC18-4967-A2E6-1016841EC919}"/>
    <dgm:cxn modelId="{13DF61BA-9172-4EFF-A838-3CA37D985421}" type="presOf" srcId="{073273A6-F27D-455A-8E60-521BD4AEC9AB}" destId="{E7247F0A-9AE9-4958-88CF-19349929C5BC}" srcOrd="0" destOrd="0" presId="urn:microsoft.com/office/officeart/2008/layout/VerticalCurvedList"/>
    <dgm:cxn modelId="{351E6DE5-61BA-417E-8C1A-25DC683B8B21}" type="presParOf" srcId="{BE1D83AB-E59D-4301-8702-83456EBCAC36}" destId="{82280448-D9B6-4A73-B667-3E2D7D949265}" srcOrd="0" destOrd="0" presId="urn:microsoft.com/office/officeart/2008/layout/VerticalCurvedList"/>
    <dgm:cxn modelId="{90DCC042-51C0-47E1-A6D0-EC243014FFA4}" type="presParOf" srcId="{82280448-D9B6-4A73-B667-3E2D7D949265}" destId="{2198F85C-1BE5-43CB-86E4-5076A68D4320}" srcOrd="0" destOrd="0" presId="urn:microsoft.com/office/officeart/2008/layout/VerticalCurvedList"/>
    <dgm:cxn modelId="{90977152-455D-437F-A9F0-B8B2C3B0C9FC}" type="presParOf" srcId="{2198F85C-1BE5-43CB-86E4-5076A68D4320}" destId="{6329B08B-A731-4FA1-8AAC-DE996D09C12B}" srcOrd="0" destOrd="0" presId="urn:microsoft.com/office/officeart/2008/layout/VerticalCurvedList"/>
    <dgm:cxn modelId="{EB10314F-6ECE-4CAA-9523-034CF0597DC2}" type="presParOf" srcId="{2198F85C-1BE5-43CB-86E4-5076A68D4320}" destId="{E7247F0A-9AE9-4958-88CF-19349929C5BC}" srcOrd="1" destOrd="0" presId="urn:microsoft.com/office/officeart/2008/layout/VerticalCurvedList"/>
    <dgm:cxn modelId="{24956C8D-C323-417A-B4EF-AE62285CC751}" type="presParOf" srcId="{2198F85C-1BE5-43CB-86E4-5076A68D4320}" destId="{C5290EF4-2DA8-4EC1-BD75-D632E57C0D6B}" srcOrd="2" destOrd="0" presId="urn:microsoft.com/office/officeart/2008/layout/VerticalCurvedList"/>
    <dgm:cxn modelId="{5B5A411C-F8FA-465C-8C81-D9BB07B54AA7}" type="presParOf" srcId="{2198F85C-1BE5-43CB-86E4-5076A68D4320}" destId="{958C9B21-3136-4D0B-8537-436675E2F8B9}" srcOrd="3" destOrd="0" presId="urn:microsoft.com/office/officeart/2008/layout/VerticalCurvedList"/>
    <dgm:cxn modelId="{3B23D9A4-A945-4297-B312-818B38C39779}" type="presParOf" srcId="{82280448-D9B6-4A73-B667-3E2D7D949265}" destId="{954BDF67-27B3-488E-AC22-F39C12EC3263}" srcOrd="1" destOrd="0" presId="urn:microsoft.com/office/officeart/2008/layout/VerticalCurvedList"/>
    <dgm:cxn modelId="{EAB01BCE-B647-4072-A27C-CA3565AF5C1A}" type="presParOf" srcId="{82280448-D9B6-4A73-B667-3E2D7D949265}" destId="{DFFEA637-12BF-40D5-86C3-AC79B400778A}" srcOrd="2" destOrd="0" presId="urn:microsoft.com/office/officeart/2008/layout/VerticalCurvedList"/>
    <dgm:cxn modelId="{10A502D3-7F64-41E3-9170-094861F988EB}" type="presParOf" srcId="{DFFEA637-12BF-40D5-86C3-AC79B400778A}" destId="{D418B5BE-B21E-4046-A0AD-023429D3C79F}" srcOrd="0" destOrd="0" presId="urn:microsoft.com/office/officeart/2008/layout/VerticalCurvedList"/>
    <dgm:cxn modelId="{AFAC6FD6-19A0-4AD0-821B-CFE4FAD44C2B}" type="presParOf" srcId="{82280448-D9B6-4A73-B667-3E2D7D949265}" destId="{3A52D610-B823-46B5-B1D4-486BBCBD5DBB}" srcOrd="3" destOrd="0" presId="urn:microsoft.com/office/officeart/2008/layout/VerticalCurvedList"/>
    <dgm:cxn modelId="{5D1DDA4A-0F2C-4A20-9B68-32FC6B9C47AB}" type="presParOf" srcId="{82280448-D9B6-4A73-B667-3E2D7D949265}" destId="{38148416-B8B6-4538-AB31-8DEA0FAC23DE}" srcOrd="4" destOrd="0" presId="urn:microsoft.com/office/officeart/2008/layout/VerticalCurvedList"/>
    <dgm:cxn modelId="{822FC993-D042-4CA3-ACA8-B3A97F6404D6}" type="presParOf" srcId="{38148416-B8B6-4538-AB31-8DEA0FAC23DE}" destId="{9F6D53BC-B7FD-4581-845B-9DE1F23B237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247F0A-9AE9-4958-88CF-19349929C5BC}">
      <dsp:nvSpPr>
        <dsp:cNvPr id="0" name=""/>
        <dsp:cNvSpPr/>
      </dsp:nvSpPr>
      <dsp:spPr>
        <a:xfrm>
          <a:off x="-4221105" y="-647667"/>
          <a:ext cx="5029445" cy="5029445"/>
        </a:xfrm>
        <a:prstGeom prst="blockArc">
          <a:avLst>
            <a:gd name="adj1" fmla="val 18900000"/>
            <a:gd name="adj2" fmla="val 2700000"/>
            <a:gd name="adj3" fmla="val 402"/>
          </a:avLst>
        </a:prstGeom>
        <a:noFill/>
        <a:ln w="12700" cap="flat" cmpd="sng" algn="ctr">
          <a:solidFill>
            <a:srgbClr val="10069F">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A45CAAE5-D7B1-4173-A17C-33CC79E0B455}">
      <dsp:nvSpPr>
        <dsp:cNvPr id="0" name=""/>
        <dsp:cNvSpPr/>
      </dsp:nvSpPr>
      <dsp:spPr>
        <a:xfrm>
          <a:off x="354054" y="233307"/>
          <a:ext cx="5574643" cy="466913"/>
        </a:xfrm>
        <a:prstGeom prst="rect">
          <a:avLst/>
        </a:prstGeom>
        <a:solidFill>
          <a:srgbClr val="10069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0612" tIns="45720" rIns="45720" bIns="45720" numCol="1" spcCol="1270" anchor="ctr" anchorCtr="0">
          <a:noAutofit/>
        </a:bodyPr>
        <a:lstStyle/>
        <a:p>
          <a:pPr marL="0" lvl="0" indent="0" algn="l" defTabSz="800100">
            <a:lnSpc>
              <a:spcPct val="90000"/>
            </a:lnSpc>
            <a:spcBef>
              <a:spcPct val="0"/>
            </a:spcBef>
            <a:spcAft>
              <a:spcPct val="35000"/>
            </a:spcAft>
            <a:buNone/>
          </a:pPr>
          <a:r>
            <a:rPr lang="es-ES" sz="1800" b="1" i="0" kern="1200" dirty="0">
              <a:solidFill>
                <a:schemeClr val="bg1">
                  <a:lumMod val="95000"/>
                </a:schemeClr>
              </a:solidFill>
              <a:effectLst/>
              <a:latin typeface="-apple-system"/>
            </a:rPr>
            <a:t>Influencia y Motivación</a:t>
          </a:r>
          <a:endParaRPr lang="en-US" sz="1800" b="1" kern="1200" dirty="0">
            <a:solidFill>
              <a:schemeClr val="bg1">
                <a:lumMod val="95000"/>
              </a:schemeClr>
            </a:solidFill>
            <a:latin typeface="Arial" panose="020B0604020202020204" pitchFamily="34" charset="0"/>
            <a:ea typeface="+mn-ea"/>
            <a:cs typeface="Arial" panose="020B0604020202020204" pitchFamily="34" charset="0"/>
          </a:endParaRPr>
        </a:p>
      </dsp:txBody>
      <dsp:txXfrm>
        <a:off x="354054" y="233307"/>
        <a:ext cx="5574643" cy="466913"/>
      </dsp:txXfrm>
    </dsp:sp>
    <dsp:sp modelId="{2736CA83-D2D5-43E9-BD08-A13DD1B413C0}">
      <dsp:nvSpPr>
        <dsp:cNvPr id="0" name=""/>
        <dsp:cNvSpPr/>
      </dsp:nvSpPr>
      <dsp:spPr>
        <a:xfrm>
          <a:off x="62233" y="174943"/>
          <a:ext cx="583641" cy="583641"/>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6839A244-9B82-44AE-BF53-F195D590C584}">
      <dsp:nvSpPr>
        <dsp:cNvPr id="0" name=""/>
        <dsp:cNvSpPr/>
      </dsp:nvSpPr>
      <dsp:spPr>
        <a:xfrm>
          <a:off x="688630" y="911914"/>
          <a:ext cx="5240066" cy="509990"/>
        </a:xfrm>
        <a:prstGeom prst="rect">
          <a:avLst/>
        </a:prstGeom>
        <a:solidFill>
          <a:srgbClr val="10069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0612" tIns="45720" rIns="45720" bIns="45720" numCol="1" spcCol="1270" anchor="ctr" anchorCtr="0">
          <a:noAutofit/>
        </a:bodyPr>
        <a:lstStyle/>
        <a:p>
          <a:pPr marL="0" lvl="0" indent="0" algn="l" defTabSz="800100">
            <a:lnSpc>
              <a:spcPct val="90000"/>
            </a:lnSpc>
            <a:spcBef>
              <a:spcPct val="0"/>
            </a:spcBef>
            <a:spcAft>
              <a:spcPct val="35000"/>
            </a:spcAft>
            <a:buNone/>
          </a:pPr>
          <a:r>
            <a:rPr lang="es-ES" sz="1800" b="1" i="0" kern="1200" dirty="0">
              <a:solidFill>
                <a:schemeClr val="bg1">
                  <a:lumMod val="95000"/>
                </a:schemeClr>
              </a:solidFill>
              <a:effectLst/>
              <a:latin typeface="-apple-system"/>
            </a:rPr>
            <a:t>Desarrollo diferenciado del Equipo</a:t>
          </a:r>
          <a:endParaRPr lang="en-US" sz="1800" b="1" kern="1200" dirty="0">
            <a:solidFill>
              <a:schemeClr val="bg1">
                <a:lumMod val="95000"/>
              </a:schemeClr>
            </a:solidFill>
            <a:latin typeface="Arial" panose="020B0604020202020204" pitchFamily="34" charset="0"/>
            <a:ea typeface="+mn-ea"/>
            <a:cs typeface="Arial" panose="020B0604020202020204" pitchFamily="34" charset="0"/>
          </a:endParaRPr>
        </a:p>
      </dsp:txBody>
      <dsp:txXfrm>
        <a:off x="688630" y="911914"/>
        <a:ext cx="5240066" cy="509990"/>
      </dsp:txXfrm>
    </dsp:sp>
    <dsp:sp modelId="{9F818E91-8B28-48C5-8004-C8B5B01E40C5}">
      <dsp:nvSpPr>
        <dsp:cNvPr id="0" name=""/>
        <dsp:cNvSpPr/>
      </dsp:nvSpPr>
      <dsp:spPr>
        <a:xfrm>
          <a:off x="396810" y="875088"/>
          <a:ext cx="583641" cy="583641"/>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A6C6D0A-3C5B-4BB3-ABC5-0028C9623E65}">
      <dsp:nvSpPr>
        <dsp:cNvPr id="0" name=""/>
        <dsp:cNvSpPr/>
      </dsp:nvSpPr>
      <dsp:spPr>
        <a:xfrm>
          <a:off x="791318" y="1633598"/>
          <a:ext cx="5137378" cy="466913"/>
        </a:xfrm>
        <a:prstGeom prst="rect">
          <a:avLst/>
        </a:prstGeom>
        <a:solidFill>
          <a:srgbClr val="10069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0612" tIns="45720" rIns="45720" bIns="45720" numCol="1" spcCol="1270" anchor="ctr" anchorCtr="0">
          <a:noAutofit/>
        </a:bodyPr>
        <a:lstStyle/>
        <a:p>
          <a:pPr marL="0" lvl="0" indent="0" algn="l" defTabSz="800100">
            <a:lnSpc>
              <a:spcPct val="90000"/>
            </a:lnSpc>
            <a:spcBef>
              <a:spcPct val="0"/>
            </a:spcBef>
            <a:spcAft>
              <a:spcPct val="35000"/>
            </a:spcAft>
            <a:buNone/>
          </a:pPr>
          <a:r>
            <a:rPr lang="es-ES" sz="1800" b="1" i="0" kern="1200" dirty="0">
              <a:solidFill>
                <a:schemeClr val="bg1">
                  <a:lumMod val="95000"/>
                </a:schemeClr>
              </a:solidFill>
              <a:effectLst/>
              <a:latin typeface="-apple-system"/>
            </a:rPr>
            <a:t>Comunicación de la  Transformación o Cambio  de manera Asertiva Positiva y Solida</a:t>
          </a:r>
          <a:endParaRPr lang="en-US" sz="1800" b="1" kern="1200" dirty="0">
            <a:solidFill>
              <a:schemeClr val="bg1">
                <a:lumMod val="95000"/>
              </a:schemeClr>
            </a:solidFill>
            <a:latin typeface="Arial" panose="020B0604020202020204" pitchFamily="34" charset="0"/>
            <a:ea typeface="+mn-ea"/>
            <a:cs typeface="Arial" panose="020B0604020202020204" pitchFamily="34" charset="0"/>
          </a:endParaRPr>
        </a:p>
      </dsp:txBody>
      <dsp:txXfrm>
        <a:off x="791318" y="1633598"/>
        <a:ext cx="5137378" cy="466913"/>
      </dsp:txXfrm>
    </dsp:sp>
    <dsp:sp modelId="{D418B5BE-B21E-4046-A0AD-023429D3C79F}">
      <dsp:nvSpPr>
        <dsp:cNvPr id="0" name=""/>
        <dsp:cNvSpPr/>
      </dsp:nvSpPr>
      <dsp:spPr>
        <a:xfrm>
          <a:off x="499498" y="1575234"/>
          <a:ext cx="583641" cy="583641"/>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10C410B0-6CB5-420C-8686-D1022BF7D06D}">
      <dsp:nvSpPr>
        <dsp:cNvPr id="0" name=""/>
        <dsp:cNvSpPr/>
      </dsp:nvSpPr>
      <dsp:spPr>
        <a:xfrm>
          <a:off x="688630" y="2254663"/>
          <a:ext cx="5240066" cy="625075"/>
        </a:xfrm>
        <a:prstGeom prst="rect">
          <a:avLst/>
        </a:prstGeom>
        <a:solidFill>
          <a:srgbClr val="10069F">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0612" tIns="45720" rIns="45720" bIns="45720" numCol="1" spcCol="1270" anchor="ctr" anchorCtr="0">
          <a:noAutofit/>
        </a:bodyPr>
        <a:lstStyle/>
        <a:p>
          <a:pPr marL="0" lvl="0" indent="0" algn="l" defTabSz="800100">
            <a:lnSpc>
              <a:spcPct val="90000"/>
            </a:lnSpc>
            <a:spcBef>
              <a:spcPct val="0"/>
            </a:spcBef>
            <a:spcAft>
              <a:spcPct val="35000"/>
            </a:spcAft>
            <a:buNone/>
          </a:pPr>
          <a:r>
            <a:rPr lang="es-ES" sz="1800" b="1" kern="1200" dirty="0">
              <a:solidFill>
                <a:schemeClr val="bg1">
                  <a:lumMod val="95000"/>
                </a:schemeClr>
              </a:solidFill>
              <a:latin typeface="-apple-system"/>
            </a:rPr>
            <a:t>Entorno Colaborativo, inclusivo y diverso</a:t>
          </a:r>
          <a:endParaRPr kumimoji="0" lang="en-US" sz="1800" b="1" i="0" u="none" strike="noStrike" kern="1200" cap="none" spc="0" normalizeH="0" baseline="0" noProof="0" dirty="0">
            <a:ln>
              <a:noFill/>
            </a:ln>
            <a:solidFill>
              <a:schemeClr val="bg1">
                <a:lumMod val="95000"/>
              </a:schemeClr>
            </a:solidFill>
            <a:effectLst/>
            <a:uLnTx/>
            <a:uFillTx/>
            <a:latin typeface="Arial" panose="020B0604020202020204"/>
            <a:ea typeface="+mn-ea"/>
            <a:cs typeface="Aldhabi" panose="020B0604020202020204" pitchFamily="2" charset="-78"/>
          </a:endParaRPr>
        </a:p>
      </dsp:txBody>
      <dsp:txXfrm>
        <a:off x="688630" y="2254663"/>
        <a:ext cx="5240066" cy="625075"/>
      </dsp:txXfrm>
    </dsp:sp>
    <dsp:sp modelId="{9F6D53BC-B7FD-4581-845B-9DE1F23B2376}">
      <dsp:nvSpPr>
        <dsp:cNvPr id="0" name=""/>
        <dsp:cNvSpPr/>
      </dsp:nvSpPr>
      <dsp:spPr>
        <a:xfrm>
          <a:off x="396810" y="2275380"/>
          <a:ext cx="583641" cy="583641"/>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5438D108-3F50-48CD-AD9E-8A1E1CA27563}">
      <dsp:nvSpPr>
        <dsp:cNvPr id="0" name=""/>
        <dsp:cNvSpPr/>
      </dsp:nvSpPr>
      <dsp:spPr>
        <a:xfrm>
          <a:off x="354054" y="3033890"/>
          <a:ext cx="5574643" cy="466913"/>
        </a:xfrm>
        <a:prstGeom prst="rect">
          <a:avLst/>
        </a:prstGeom>
        <a:solidFill>
          <a:srgbClr val="10069F">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0612" tIns="45720" rIns="45720" bIns="45720" numCol="1" spcCol="1270" anchor="ctr" anchorCtr="0">
          <a:noAutofit/>
        </a:bodyPr>
        <a:lstStyle/>
        <a:p>
          <a:pPr marL="0" lvl="0" indent="0" algn="l" defTabSz="800100">
            <a:lnSpc>
              <a:spcPct val="90000"/>
            </a:lnSpc>
            <a:spcBef>
              <a:spcPct val="0"/>
            </a:spcBef>
            <a:spcAft>
              <a:spcPct val="35000"/>
            </a:spcAft>
            <a:buNone/>
          </a:pPr>
          <a:r>
            <a:rPr lang="es-ES" sz="1800" b="1" i="0" kern="1200" dirty="0">
              <a:solidFill>
                <a:schemeClr val="bg1">
                  <a:lumMod val="95000"/>
                </a:schemeClr>
              </a:solidFill>
              <a:effectLst/>
              <a:latin typeface="-apple-system"/>
            </a:rPr>
            <a:t>Productividad</a:t>
          </a:r>
          <a:r>
            <a:rPr lang="es-ES" sz="1800" b="1" kern="1200" dirty="0">
              <a:solidFill>
                <a:schemeClr val="bg1">
                  <a:lumMod val="95000"/>
                </a:schemeClr>
              </a:solidFill>
              <a:latin typeface="-apple-system"/>
            </a:rPr>
            <a:t>  y Rendimiento Full </a:t>
          </a:r>
          <a:r>
            <a:rPr lang="es-ES" sz="1800" b="1" kern="1200" dirty="0" err="1">
              <a:solidFill>
                <a:schemeClr val="bg1">
                  <a:lumMod val="95000"/>
                </a:schemeClr>
              </a:solidFill>
              <a:latin typeface="-apple-system"/>
            </a:rPr>
            <a:t>Potential</a:t>
          </a:r>
          <a:endParaRPr lang="en-US" sz="1800" b="1" kern="1200" dirty="0">
            <a:solidFill>
              <a:schemeClr val="bg1">
                <a:lumMod val="95000"/>
              </a:schemeClr>
            </a:solidFill>
            <a:latin typeface="Arial" panose="020B0604020202020204" pitchFamily="34" charset="0"/>
            <a:ea typeface="+mn-ea"/>
            <a:cs typeface="Arial" panose="020B0604020202020204" pitchFamily="34" charset="0"/>
          </a:endParaRPr>
        </a:p>
      </dsp:txBody>
      <dsp:txXfrm>
        <a:off x="354054" y="3033890"/>
        <a:ext cx="5574643" cy="466913"/>
      </dsp:txXfrm>
    </dsp:sp>
    <dsp:sp modelId="{372AFAE5-5FBB-4ACF-B28E-A0D1EA93AC3F}">
      <dsp:nvSpPr>
        <dsp:cNvPr id="0" name=""/>
        <dsp:cNvSpPr/>
      </dsp:nvSpPr>
      <dsp:spPr>
        <a:xfrm>
          <a:off x="62233" y="2975526"/>
          <a:ext cx="583641" cy="583641"/>
        </a:xfrm>
        <a:prstGeom prst="ellipse">
          <a:avLst/>
        </a:prstGeom>
        <a:solidFill>
          <a:sysClr val="window" lastClr="FFFFFF">
            <a:hueOff val="0"/>
            <a:satOff val="0"/>
            <a:lumOff val="0"/>
            <a:alphaOff val="0"/>
          </a:sysClr>
        </a:solidFill>
        <a:ln w="12700" cap="flat" cmpd="sng" algn="ctr">
          <a:solidFill>
            <a:srgbClr val="10069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30FFF3-CF03-40C7-A503-5889ECAA1568}">
      <dsp:nvSpPr>
        <dsp:cNvPr id="0" name=""/>
        <dsp:cNvSpPr/>
      </dsp:nvSpPr>
      <dsp:spPr>
        <a:xfrm>
          <a:off x="5672223" y="0"/>
          <a:ext cx="1998576" cy="1998576"/>
        </a:xfrm>
        <a:prstGeom prst="triangle">
          <a:avLst/>
        </a:prstGeom>
        <a:solidFill>
          <a:srgbClr val="E3D8F2">
            <a:lumMod val="50000"/>
          </a:srgbClr>
        </a:solidFill>
        <a:ln w="12700" cap="flat" cmpd="sng" algn="ctr">
          <a:solidFill>
            <a:srgbClr val="E3D8F2">
              <a:lumMod val="75000"/>
            </a:srgbClr>
          </a:solidFill>
          <a:prstDash val="solid"/>
          <a:miter lim="800000"/>
        </a:ln>
        <a:effectLst/>
        <a:scene3d>
          <a:camera prst="orthographicFront"/>
          <a:lightRig rig="threePt" dir="t"/>
        </a:scene3d>
        <a:sp3d>
          <a:bevelT w="152400" h="50800" prst="softRound"/>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endParaRPr lang="en-US" sz="1200" b="1" kern="1200" dirty="0">
            <a:solidFill>
              <a:sysClr val="window" lastClr="FFFFFF"/>
            </a:solidFill>
            <a:latin typeface="Arial" panose="020B0604020202020204"/>
            <a:ea typeface="+mn-ea"/>
            <a:cs typeface="+mn-cs"/>
          </a:endParaRPr>
        </a:p>
        <a:p>
          <a:pPr marL="0" lvl="0" indent="0" algn="ctr" defTabSz="622300">
            <a:lnSpc>
              <a:spcPct val="90000"/>
            </a:lnSpc>
            <a:spcBef>
              <a:spcPct val="0"/>
            </a:spcBef>
            <a:spcAft>
              <a:spcPct val="35000"/>
            </a:spcAft>
            <a:buNone/>
          </a:pPr>
          <a:r>
            <a:rPr lang="en-US" sz="1200" b="1" kern="1200" dirty="0">
              <a:solidFill>
                <a:sysClr val="window" lastClr="FFFFFF"/>
              </a:solidFill>
              <a:latin typeface="Arial" panose="020B0604020202020204"/>
              <a:ea typeface="+mn-ea"/>
              <a:cs typeface="+mn-cs"/>
            </a:rPr>
            <a:t>Management Processing</a:t>
          </a:r>
        </a:p>
        <a:p>
          <a:pPr marL="0" lvl="0" indent="0" algn="ctr" defTabSz="622300">
            <a:lnSpc>
              <a:spcPct val="90000"/>
            </a:lnSpc>
            <a:spcBef>
              <a:spcPct val="0"/>
            </a:spcBef>
            <a:spcAft>
              <a:spcPct val="35000"/>
            </a:spcAft>
            <a:buNone/>
          </a:pPr>
          <a:endParaRPr lang="en-US" sz="1200" b="1" kern="1200" dirty="0">
            <a:solidFill>
              <a:sysClr val="window" lastClr="FFFFFF"/>
            </a:solidFill>
            <a:latin typeface="Arial" panose="020B0604020202020204"/>
            <a:ea typeface="+mn-ea"/>
            <a:cs typeface="+mn-cs"/>
          </a:endParaRPr>
        </a:p>
      </dsp:txBody>
      <dsp:txXfrm>
        <a:off x="6171867" y="999288"/>
        <a:ext cx="999288" cy="999288"/>
      </dsp:txXfrm>
    </dsp:sp>
    <dsp:sp modelId="{AF7830E6-7326-4ECB-9913-E23CC573A1B3}">
      <dsp:nvSpPr>
        <dsp:cNvPr id="0" name=""/>
        <dsp:cNvSpPr/>
      </dsp:nvSpPr>
      <dsp:spPr>
        <a:xfrm>
          <a:off x="4672935" y="1998576"/>
          <a:ext cx="1998576" cy="1998576"/>
        </a:xfrm>
        <a:prstGeom prst="triangle">
          <a:avLst/>
        </a:prstGeom>
        <a:solidFill>
          <a:srgbClr val="33D196"/>
        </a:solidFill>
        <a:ln w="12700" cap="flat" cmpd="sng" algn="ctr">
          <a:solidFill>
            <a:prstClr val="white">
              <a:hueOff val="0"/>
              <a:satOff val="0"/>
              <a:lumOff val="0"/>
              <a:alphaOff val="0"/>
            </a:prstClr>
          </a:solidFill>
          <a:prstDash val="solid"/>
          <a:miter lim="800000"/>
        </a:ln>
        <a:effectLst/>
        <a:scene3d>
          <a:camera prst="orthographicFront"/>
          <a:lightRig rig="threePt" dir="t"/>
        </a:scene3d>
        <a:sp3d>
          <a:bevelT w="152400" h="50800" prst="softRound"/>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Inbound</a:t>
          </a:r>
        </a:p>
        <a:p>
          <a:pPr marL="0" lvl="0" indent="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Processing</a:t>
          </a:r>
        </a:p>
      </dsp:txBody>
      <dsp:txXfrm>
        <a:off x="5172579" y="2997864"/>
        <a:ext cx="999288" cy="999288"/>
      </dsp:txXfrm>
    </dsp:sp>
    <dsp:sp modelId="{E49DFCEF-BEC5-4C49-8798-D034FD12E709}">
      <dsp:nvSpPr>
        <dsp:cNvPr id="0" name=""/>
        <dsp:cNvSpPr/>
      </dsp:nvSpPr>
      <dsp:spPr>
        <a:xfrm rot="10800000">
          <a:off x="5672223" y="1998576"/>
          <a:ext cx="1998576" cy="1998576"/>
        </a:xfrm>
        <a:prstGeom prst="triangle">
          <a:avLst/>
        </a:prstGeom>
        <a:solidFill>
          <a:srgbClr val="EE3744">
            <a:lumMod val="60000"/>
            <a:lumOff val="40000"/>
          </a:srgbClr>
        </a:solidFill>
        <a:ln w="12700" cap="flat" cmpd="sng" algn="ctr">
          <a:solidFill>
            <a:srgbClr val="EE3744">
              <a:lumMod val="60000"/>
              <a:lumOff val="40000"/>
            </a:srgbClr>
          </a:solidFill>
          <a:prstDash val="solid"/>
          <a:miter lim="800000"/>
        </a:ln>
        <a:effectLst/>
        <a:scene3d>
          <a:camera prst="orthographicFront"/>
          <a:lightRig rig="threePt" dir="t"/>
        </a:scene3d>
        <a:sp3d>
          <a:bevelT w="152400" h="50800" prst="softRound"/>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endParaRPr lang="en-US" sz="1400" b="1" kern="1200" dirty="0">
            <a:solidFill>
              <a:srgbClr val="292929"/>
            </a:solidFill>
            <a:latin typeface="Arial" panose="020B0604020202020204"/>
            <a:ea typeface="+mn-ea"/>
            <a:cs typeface="+mn-cs"/>
          </a:endParaRPr>
        </a:p>
        <a:p>
          <a:pPr marL="0" lvl="0" indent="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Storage Processing &amp; other states</a:t>
          </a:r>
        </a:p>
      </dsp:txBody>
      <dsp:txXfrm rot="10800000">
        <a:off x="6171867" y="1998576"/>
        <a:ext cx="999288" cy="999288"/>
      </dsp:txXfrm>
    </dsp:sp>
    <dsp:sp modelId="{BAB71A2E-3E41-499D-9E6A-CDE125F77BF9}">
      <dsp:nvSpPr>
        <dsp:cNvPr id="0" name=""/>
        <dsp:cNvSpPr/>
      </dsp:nvSpPr>
      <dsp:spPr>
        <a:xfrm>
          <a:off x="6671511" y="1998576"/>
          <a:ext cx="1998576" cy="1998576"/>
        </a:xfrm>
        <a:prstGeom prst="triangle">
          <a:avLst/>
        </a:prstGeom>
        <a:solidFill>
          <a:srgbClr val="00B0F0"/>
        </a:solidFill>
        <a:ln w="12700" cap="flat" cmpd="sng" algn="ctr">
          <a:solidFill>
            <a:prstClr val="white">
              <a:hueOff val="0"/>
              <a:satOff val="0"/>
              <a:lumOff val="0"/>
              <a:alphaOff val="0"/>
            </a:prstClr>
          </a:solidFill>
          <a:prstDash val="solid"/>
          <a:miter lim="800000"/>
        </a:ln>
        <a:effectLst/>
        <a:scene3d>
          <a:camera prst="orthographicFront"/>
          <a:lightRig rig="threePt" dir="t"/>
        </a:scene3d>
        <a:sp3d>
          <a:bevelT w="152400" h="50800" prst="softRound"/>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Outbound</a:t>
          </a:r>
        </a:p>
        <a:p>
          <a:pPr marL="0" lvl="0" indent="0" algn="ctr" defTabSz="622300">
            <a:lnSpc>
              <a:spcPct val="90000"/>
            </a:lnSpc>
            <a:spcBef>
              <a:spcPct val="0"/>
            </a:spcBef>
            <a:spcAft>
              <a:spcPct val="35000"/>
            </a:spcAft>
            <a:buNone/>
          </a:pPr>
          <a:r>
            <a:rPr lang="en-US" sz="1200" b="1" kern="1200" dirty="0">
              <a:solidFill>
                <a:srgbClr val="292929"/>
              </a:solidFill>
              <a:latin typeface="Arial" panose="020B0604020202020204"/>
              <a:ea typeface="+mn-ea"/>
              <a:cs typeface="+mn-cs"/>
            </a:rPr>
            <a:t>Processing</a:t>
          </a:r>
        </a:p>
      </dsp:txBody>
      <dsp:txXfrm>
        <a:off x="7171155" y="2997864"/>
        <a:ext cx="999288" cy="9992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247F0A-9AE9-4958-88CF-19349929C5BC}">
      <dsp:nvSpPr>
        <dsp:cNvPr id="0" name=""/>
        <dsp:cNvSpPr/>
      </dsp:nvSpPr>
      <dsp:spPr>
        <a:xfrm>
          <a:off x="1991420" y="-993351"/>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54BDF67-27B3-488E-AC22-F39C12EC3263}">
      <dsp:nvSpPr>
        <dsp:cNvPr id="0" name=""/>
        <dsp:cNvSpPr/>
      </dsp:nvSpPr>
      <dsp:spPr>
        <a:xfrm>
          <a:off x="516803" y="416587"/>
          <a:ext cx="4951078" cy="833607"/>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30480" rIns="30480" bIns="30480" numCol="1" spcCol="1270" anchor="ctr" anchorCtr="0">
          <a:noAutofit/>
        </a:bodyPr>
        <a:lstStyle/>
        <a:p>
          <a:pPr marL="0" lvl="0" indent="0" algn="l" defTabSz="533400">
            <a:lnSpc>
              <a:spcPct val="90000"/>
            </a:lnSpc>
            <a:spcBef>
              <a:spcPct val="0"/>
            </a:spcBef>
            <a:spcAft>
              <a:spcPct val="35000"/>
            </a:spcAft>
            <a:buNone/>
          </a:pPr>
          <a:endParaRPr lang="es-ES" sz="1200" b="0" kern="1200" dirty="0">
            <a:cs typeface="Calibri" panose="020F0502020204030204" pitchFamily="34" charset="0"/>
          </a:endParaRPr>
        </a:p>
        <a:p>
          <a:pPr marL="0" lvl="0" indent="0" algn="l" defTabSz="533400">
            <a:lnSpc>
              <a:spcPct val="90000"/>
            </a:lnSpc>
            <a:spcBef>
              <a:spcPct val="0"/>
            </a:spcBef>
            <a:spcAft>
              <a:spcPct val="35000"/>
            </a:spcAft>
            <a:buNone/>
          </a:pPr>
          <a:r>
            <a:rPr lang="es-ES" sz="1200" b="0" kern="1200" dirty="0" err="1">
              <a:cs typeface="Calibri" panose="020F0502020204030204" pitchFamily="34" charset="0"/>
            </a:rPr>
            <a:t>My</a:t>
          </a:r>
          <a:r>
            <a:rPr lang="es-ES" sz="1200" b="0" kern="1200" dirty="0">
              <a:cs typeface="Calibri" panose="020F0502020204030204" pitchFamily="34" charset="0"/>
            </a:rPr>
            <a:t> </a:t>
          </a:r>
          <a:r>
            <a:rPr lang="es-ES" sz="1200" b="0" kern="1200" dirty="0" err="1">
              <a:cs typeface="Calibri" panose="020F0502020204030204" pitchFamily="34" charset="0"/>
            </a:rPr>
            <a:t>Purpose</a:t>
          </a:r>
          <a:r>
            <a:rPr lang="es-ES" sz="1200" b="0" kern="1200" dirty="0">
              <a:cs typeface="Calibri" panose="020F0502020204030204" pitchFamily="34" charset="0"/>
            </a:rPr>
            <a:t> / Mi </a:t>
          </a:r>
          <a:r>
            <a:rPr lang="es-ES" sz="1200" b="0" kern="1200" dirty="0" err="1">
              <a:cs typeface="Calibri" panose="020F0502020204030204" pitchFamily="34" charset="0"/>
            </a:rPr>
            <a:t>proposito</a:t>
          </a:r>
          <a:endParaRPr lang="es-ES" sz="1200" b="0" kern="1200" dirty="0">
            <a:cs typeface="Calibri" panose="020F0502020204030204" pitchFamily="34" charset="0"/>
          </a:endParaRPr>
        </a:p>
        <a:p>
          <a:pPr marL="0" lvl="0" indent="0" algn="l" defTabSz="533400">
            <a:lnSpc>
              <a:spcPct val="90000"/>
            </a:lnSpc>
            <a:spcBef>
              <a:spcPct val="0"/>
            </a:spcBef>
            <a:spcAft>
              <a:spcPct val="35000"/>
            </a:spcAft>
            <a:buFont typeface="Wingdings" panose="05000000000000000000" pitchFamily="2" charset="2"/>
            <a:buNone/>
          </a:pPr>
          <a:r>
            <a:rPr lang="es-ES" sz="1200" b="0" kern="1200" dirty="0">
              <a:cs typeface="Calibri" panose="020F0502020204030204" pitchFamily="34" charset="0"/>
            </a:rPr>
            <a:t> </a:t>
          </a:r>
          <a:endParaRPr lang="en-US" sz="1200" b="0" kern="1200" dirty="0">
            <a:latin typeface="Arial" panose="020B0604020202020204" pitchFamily="34" charset="0"/>
            <a:cs typeface="Arial" panose="020B0604020202020204" pitchFamily="34" charset="0"/>
          </a:endParaRPr>
        </a:p>
      </dsp:txBody>
      <dsp:txXfrm>
        <a:off x="516803" y="416587"/>
        <a:ext cx="4951078" cy="833607"/>
      </dsp:txXfrm>
    </dsp:sp>
    <dsp:sp modelId="{D418B5BE-B21E-4046-A0AD-023429D3C79F}">
      <dsp:nvSpPr>
        <dsp:cNvPr id="0" name=""/>
        <dsp:cNvSpPr/>
      </dsp:nvSpPr>
      <dsp:spPr>
        <a:xfrm>
          <a:off x="4596155" y="0"/>
          <a:ext cx="1042009" cy="104200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A52D610-B823-46B5-B1D4-486BBCBD5DBB}">
      <dsp:nvSpPr>
        <dsp:cNvPr id="0" name=""/>
        <dsp:cNvSpPr/>
      </dsp:nvSpPr>
      <dsp:spPr>
        <a:xfrm>
          <a:off x="629832" y="1667215"/>
          <a:ext cx="4847956"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30480" rIns="30480" bIns="30480" numCol="1" spcCol="1270" anchor="ctr" anchorCtr="0">
          <a:noAutofit/>
        </a:bodyPr>
        <a:lstStyle/>
        <a:p>
          <a:pPr marL="0" lvl="0" indent="0" algn="l" defTabSz="533400">
            <a:lnSpc>
              <a:spcPct val="90000"/>
            </a:lnSpc>
            <a:spcBef>
              <a:spcPct val="0"/>
            </a:spcBef>
            <a:spcAft>
              <a:spcPct val="35000"/>
            </a:spcAft>
            <a:buNone/>
          </a:pPr>
          <a:r>
            <a:rPr lang="es-ES" sz="1200" kern="1200" dirty="0">
              <a:cs typeface="Calibri" panose="020F0502020204030204" pitchFamily="34" charset="0"/>
            </a:rPr>
            <a:t>Eficiencias en tiempos de </a:t>
          </a:r>
          <a:r>
            <a:rPr lang="es-ES" sz="1200" kern="1200" dirty="0" err="1">
              <a:cs typeface="Calibri" panose="020F0502020204030204" pitchFamily="34" charset="0"/>
            </a:rPr>
            <a:t>picking</a:t>
          </a:r>
          <a:r>
            <a:rPr lang="es-ES" sz="1200" kern="1200" dirty="0">
              <a:cs typeface="Calibri" panose="020F0502020204030204" pitchFamily="34" charset="0"/>
            </a:rPr>
            <a:t>, carga y descarga</a:t>
          </a:r>
        </a:p>
        <a:p>
          <a:pPr marL="0" lvl="0" indent="0" algn="l" defTabSz="533400">
            <a:lnSpc>
              <a:spcPct val="90000"/>
            </a:lnSpc>
            <a:spcBef>
              <a:spcPct val="0"/>
            </a:spcBef>
            <a:spcAft>
              <a:spcPct val="35000"/>
            </a:spcAft>
            <a:buNone/>
          </a:pPr>
          <a:r>
            <a:rPr lang="es-ES" sz="1200" kern="1200" dirty="0">
              <a:cs typeface="Calibri" panose="020F0502020204030204" pitchFamily="34" charset="0"/>
            </a:rPr>
            <a:t>Optimo </a:t>
          </a:r>
          <a:r>
            <a:rPr lang="es-ES" sz="1200" kern="1200" dirty="0" err="1">
              <a:cs typeface="Calibri" panose="020F0502020204030204" pitchFamily="34" charset="0"/>
            </a:rPr>
            <a:t>Layout</a:t>
          </a:r>
          <a:r>
            <a:rPr lang="es-ES" sz="1200" kern="1200" dirty="0">
              <a:cs typeface="Calibri" panose="020F0502020204030204" pitchFamily="34" charset="0"/>
            </a:rPr>
            <a:t> </a:t>
          </a:r>
        </a:p>
        <a:p>
          <a:pPr marL="0" lvl="0" indent="0" algn="l" defTabSz="533400">
            <a:lnSpc>
              <a:spcPct val="90000"/>
            </a:lnSpc>
            <a:spcBef>
              <a:spcPct val="0"/>
            </a:spcBef>
            <a:spcAft>
              <a:spcPct val="35000"/>
            </a:spcAft>
            <a:buFont typeface="Wingdings" panose="05000000000000000000" pitchFamily="2" charset="2"/>
            <a:buNone/>
          </a:pPr>
          <a:r>
            <a:rPr lang="es-ES" sz="1200" kern="1200" dirty="0">
              <a:cs typeface="Calibri" panose="020F0502020204030204" pitchFamily="34" charset="0"/>
            </a:rPr>
            <a:t>Correcta planificación y distribución de turnos</a:t>
          </a:r>
          <a:endParaRPr lang="en-US" sz="1200" b="1" kern="1200" dirty="0">
            <a:latin typeface="Arial" panose="020B0604020202020204" pitchFamily="34" charset="0"/>
            <a:cs typeface="Arial" panose="020B0604020202020204" pitchFamily="34" charset="0"/>
          </a:endParaRPr>
        </a:p>
      </dsp:txBody>
      <dsp:txXfrm>
        <a:off x="629832" y="1667215"/>
        <a:ext cx="4847956" cy="833607"/>
      </dsp:txXfrm>
    </dsp:sp>
    <dsp:sp modelId="{9F6D53BC-B7FD-4581-845B-9DE1F23B2376}">
      <dsp:nvSpPr>
        <dsp:cNvPr id="0" name=""/>
        <dsp:cNvSpPr/>
      </dsp:nvSpPr>
      <dsp:spPr>
        <a:xfrm>
          <a:off x="2184" y="1611374"/>
          <a:ext cx="1042009" cy="1042009"/>
        </a:xfrm>
        <a:prstGeom prst="ellipse">
          <a:avLst/>
        </a:prstGeom>
        <a:blipFill rotWithShape="0">
          <a:blip xmlns:r="http://schemas.openxmlformats.org/officeDocument/2006/relationships" r:embed="rId1"/>
          <a:srcRect/>
          <a:stretch>
            <a:fillRect t="-2000" b="-2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4B47C29-1245-4FD4-955E-919550E15DE5}">
      <dsp:nvSpPr>
        <dsp:cNvPr id="0" name=""/>
        <dsp:cNvSpPr/>
      </dsp:nvSpPr>
      <dsp:spPr>
        <a:xfrm>
          <a:off x="770781" y="2917843"/>
          <a:ext cx="4743553"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30480" rIns="30480" bIns="30480" numCol="1" spcCol="1270" anchor="ctr" anchorCtr="0">
          <a:noAutofit/>
        </a:bodyPr>
        <a:lstStyle/>
        <a:p>
          <a:pPr marL="0" lvl="0" indent="0" algn="l" defTabSz="533400">
            <a:lnSpc>
              <a:spcPct val="90000"/>
            </a:lnSpc>
            <a:spcBef>
              <a:spcPct val="0"/>
            </a:spcBef>
            <a:spcAft>
              <a:spcPct val="35000"/>
            </a:spcAft>
            <a:buNone/>
          </a:pPr>
          <a:r>
            <a:rPr lang="es-ES" sz="1200" b="0" kern="1200" dirty="0">
              <a:cs typeface="Calibri" panose="020F0502020204030204" pitchFamily="34" charset="0"/>
            </a:rPr>
            <a:t>Gestión </a:t>
          </a:r>
          <a:r>
            <a:rPr lang="es-ES" sz="1200" b="0" kern="1200" dirty="0" err="1">
              <a:cs typeface="Calibri" panose="020F0502020204030204" pitchFamily="34" charset="0"/>
            </a:rPr>
            <a:t>SMObs</a:t>
          </a:r>
          <a:r>
            <a:rPr lang="es-ES" sz="1200" b="0" kern="1200" dirty="0">
              <a:cs typeface="Calibri" panose="020F0502020204030204" pitchFamily="34" charset="0"/>
            </a:rPr>
            <a:t>, Inventario Bloqueado</a:t>
          </a:r>
          <a:endParaRPr lang="es-ES" sz="1200" b="0" kern="1200" dirty="0">
            <a:solidFill>
              <a:prstClr val="white"/>
            </a:solidFill>
            <a:latin typeface="Arial" panose="020B0604020202020204"/>
            <a:ea typeface="+mn-ea"/>
            <a:cs typeface="Calibri" panose="020F0502020204030204" pitchFamily="34" charset="0"/>
          </a:endParaRPr>
        </a:p>
        <a:p>
          <a:pPr marL="0" lvl="0" indent="0" algn="l" defTabSz="533400">
            <a:lnSpc>
              <a:spcPct val="90000"/>
            </a:lnSpc>
            <a:spcBef>
              <a:spcPct val="0"/>
            </a:spcBef>
            <a:spcAft>
              <a:spcPct val="35000"/>
            </a:spcAft>
            <a:buNone/>
          </a:pPr>
          <a:r>
            <a:rPr lang="es-ES" sz="1200" b="0" kern="1200" dirty="0">
              <a:solidFill>
                <a:prstClr val="white"/>
              </a:solidFill>
              <a:latin typeface="Arial" panose="020B0604020202020204"/>
              <a:ea typeface="+mn-ea"/>
              <a:cs typeface="Calibri" panose="020F0502020204030204" pitchFamily="34" charset="0"/>
            </a:rPr>
            <a:t>Correcto almacenamiento y manejo WMS</a:t>
          </a:r>
          <a:endParaRPr lang="en-US" sz="1200" b="0" kern="1200" dirty="0">
            <a:solidFill>
              <a:prstClr val="white"/>
            </a:solidFill>
            <a:latin typeface="Arial" panose="020B0604020202020204"/>
            <a:ea typeface="+mn-ea"/>
            <a:cs typeface="Calibri" panose="020F0502020204030204" pitchFamily="34" charset="0"/>
          </a:endParaRPr>
        </a:p>
      </dsp:txBody>
      <dsp:txXfrm>
        <a:off x="770781" y="2917843"/>
        <a:ext cx="4743553" cy="833607"/>
      </dsp:txXfrm>
    </dsp:sp>
    <dsp:sp modelId="{372AFAE5-5FBB-4ACF-B28E-A0D1EA93AC3F}">
      <dsp:nvSpPr>
        <dsp:cNvPr id="0" name=""/>
        <dsp:cNvSpPr/>
      </dsp:nvSpPr>
      <dsp:spPr>
        <a:xfrm>
          <a:off x="30120" y="2800628"/>
          <a:ext cx="1042009" cy="1042009"/>
        </a:xfrm>
        <a:prstGeom prst="ellipse">
          <a:avLst/>
        </a:prstGeom>
        <a:blipFill rotWithShape="0">
          <a:blip xmlns:r="http://schemas.openxmlformats.org/officeDocument/2006/relationships" r:embed="rId2"/>
          <a:srcRect/>
          <a:stretch>
            <a:fillRect l="-24000" r="-24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FA953E7-1E64-4FB0-8609-710682673AF3}">
      <dsp:nvSpPr>
        <dsp:cNvPr id="0" name=""/>
        <dsp:cNvSpPr/>
      </dsp:nvSpPr>
      <dsp:spPr>
        <a:xfrm>
          <a:off x="441769" y="4168472"/>
          <a:ext cx="5101145"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30480" rIns="30480" bIns="30480" numCol="1" spcCol="1270" anchor="ctr" anchorCtr="0">
          <a:noAutofit/>
        </a:bodyPr>
        <a:lstStyle/>
        <a:p>
          <a:pPr marL="0" lvl="0" indent="0" algn="l" defTabSz="533400">
            <a:lnSpc>
              <a:spcPct val="90000"/>
            </a:lnSpc>
            <a:spcBef>
              <a:spcPct val="0"/>
            </a:spcBef>
            <a:spcAft>
              <a:spcPct val="35000"/>
            </a:spcAft>
            <a:buNone/>
          </a:pPr>
          <a:r>
            <a:rPr lang="es-AR" sz="1200" b="0" kern="1200" noProof="0" dirty="0">
              <a:latin typeface="Arial" panose="020B0604020202020204" pitchFamily="34" charset="0"/>
              <a:cs typeface="Arial" panose="020B0604020202020204" pitchFamily="34" charset="0"/>
            </a:rPr>
            <a:t>Eficiencias logísticas, nuevas ideas</a:t>
          </a:r>
        </a:p>
      </dsp:txBody>
      <dsp:txXfrm>
        <a:off x="441769" y="4168472"/>
        <a:ext cx="5101145" cy="833607"/>
      </dsp:txXfrm>
    </dsp:sp>
    <dsp:sp modelId="{D5C38E48-BB1E-4588-968F-F76820E062D7}">
      <dsp:nvSpPr>
        <dsp:cNvPr id="0" name=""/>
        <dsp:cNvSpPr/>
      </dsp:nvSpPr>
      <dsp:spPr>
        <a:xfrm>
          <a:off x="-4201" y="4064271"/>
          <a:ext cx="1042009" cy="1042009"/>
        </a:xfrm>
        <a:prstGeom prst="ellipse">
          <a:avLst/>
        </a:prstGeom>
        <a:blipFill rotWithShape="0">
          <a:blip xmlns:r="http://schemas.openxmlformats.org/officeDocument/2006/relationships" r:embed="rId3"/>
          <a:srcRect/>
          <a:stretch>
            <a:fillRect l="-2000" r="-2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247F0A-9AE9-4958-88CF-19349929C5BC}">
      <dsp:nvSpPr>
        <dsp:cNvPr id="0" name=""/>
        <dsp:cNvSpPr/>
      </dsp:nvSpPr>
      <dsp:spPr>
        <a:xfrm>
          <a:off x="1991420" y="-993351"/>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54BDF67-27B3-488E-AC22-F39C12EC3263}">
      <dsp:nvSpPr>
        <dsp:cNvPr id="0" name=""/>
        <dsp:cNvSpPr/>
      </dsp:nvSpPr>
      <dsp:spPr>
        <a:xfrm>
          <a:off x="2631824" y="774110"/>
          <a:ext cx="2292215" cy="1548004"/>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28729" tIns="30480" rIns="30480" bIns="30480" numCol="1" spcCol="1270" anchor="ctr" anchorCtr="0">
          <a:noAutofit/>
        </a:bodyPr>
        <a:lstStyle/>
        <a:p>
          <a:pPr marL="0" lvl="0" indent="0" algn="l" defTabSz="533400">
            <a:lnSpc>
              <a:spcPct val="90000"/>
            </a:lnSpc>
            <a:spcBef>
              <a:spcPct val="0"/>
            </a:spcBef>
            <a:spcAft>
              <a:spcPct val="35000"/>
            </a:spcAft>
            <a:buNone/>
          </a:pPr>
          <a:r>
            <a:rPr lang="es-ES" sz="1200" b="0" kern="1200" dirty="0">
              <a:cs typeface="Calibri" panose="020F0502020204030204" pitchFamily="34" charset="0"/>
            </a:rPr>
            <a:t>PERSONAL</a:t>
          </a:r>
          <a:endParaRPr lang="en-US" sz="1200" b="0" kern="1200" dirty="0">
            <a:latin typeface="Arial" panose="020B0604020202020204" pitchFamily="34" charset="0"/>
            <a:cs typeface="Arial" panose="020B0604020202020204" pitchFamily="34" charset="0"/>
          </a:endParaRPr>
        </a:p>
      </dsp:txBody>
      <dsp:txXfrm>
        <a:off x="2631824" y="774110"/>
        <a:ext cx="2292215" cy="1548004"/>
      </dsp:txXfrm>
    </dsp:sp>
    <dsp:sp modelId="{D418B5BE-B21E-4046-A0AD-023429D3C79F}">
      <dsp:nvSpPr>
        <dsp:cNvPr id="0" name=""/>
        <dsp:cNvSpPr/>
      </dsp:nvSpPr>
      <dsp:spPr>
        <a:xfrm>
          <a:off x="1740343" y="3483661"/>
          <a:ext cx="1935005" cy="19350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A52D610-B823-46B5-B1D4-486BBCBD5DBB}">
      <dsp:nvSpPr>
        <dsp:cNvPr id="0" name=""/>
        <dsp:cNvSpPr/>
      </dsp:nvSpPr>
      <dsp:spPr>
        <a:xfrm>
          <a:off x="2406800" y="2614084"/>
          <a:ext cx="2713104" cy="15480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28729" tIns="30480" rIns="30480" bIns="30480" numCol="1" spcCol="1270" anchor="ctr" anchorCtr="0">
          <a:noAutofit/>
        </a:bodyPr>
        <a:lstStyle/>
        <a:p>
          <a:pPr marL="0" lvl="0" indent="0" algn="ctr" defTabSz="533400">
            <a:lnSpc>
              <a:spcPct val="90000"/>
            </a:lnSpc>
            <a:spcBef>
              <a:spcPct val="0"/>
            </a:spcBef>
            <a:spcAft>
              <a:spcPct val="35000"/>
            </a:spcAft>
            <a:buNone/>
          </a:pPr>
          <a:r>
            <a:rPr lang="es-ES" sz="1200" kern="1200" dirty="0">
              <a:cs typeface="Calibri" panose="020F0502020204030204" pitchFamily="34" charset="0"/>
            </a:rPr>
            <a:t>ORGANIZACIONAL</a:t>
          </a:r>
          <a:endParaRPr lang="en-US" sz="1200" b="1" kern="1200" dirty="0">
            <a:latin typeface="Arial" panose="020B0604020202020204" pitchFamily="34" charset="0"/>
            <a:cs typeface="Arial" panose="020B0604020202020204" pitchFamily="34" charset="0"/>
          </a:endParaRPr>
        </a:p>
      </dsp:txBody>
      <dsp:txXfrm>
        <a:off x="2406800" y="2614084"/>
        <a:ext cx="2713104" cy="1548004"/>
      </dsp:txXfrm>
    </dsp:sp>
    <dsp:sp modelId="{9F6D53BC-B7FD-4581-845B-9DE1F23B2376}">
      <dsp:nvSpPr>
        <dsp:cNvPr id="0" name=""/>
        <dsp:cNvSpPr/>
      </dsp:nvSpPr>
      <dsp:spPr>
        <a:xfrm>
          <a:off x="0" y="1030835"/>
          <a:ext cx="1935005" cy="19350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8313D3-6EEF-41F1-859E-3CE939BF50F9}" type="datetimeFigureOut">
              <a:rPr lang="es-AR" smtClean="0"/>
              <a:t>23/5/2024</a:t>
            </a:fld>
            <a:endParaRPr lang="es-AR"/>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AR"/>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2A8E2F-3E0C-4CA4-9FA2-B3BFDB9D4105}" type="slidenum">
              <a:rPr lang="es-AR" smtClean="0"/>
              <a:t>‹Nº›</a:t>
            </a:fld>
            <a:endParaRPr lang="es-AR"/>
          </a:p>
        </p:txBody>
      </p:sp>
    </p:spTree>
    <p:extLst>
      <p:ext uri="{BB962C8B-B14F-4D97-AF65-F5344CB8AC3E}">
        <p14:creationId xmlns:p14="http://schemas.microsoft.com/office/powerpoint/2010/main" val="33464928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880FD3-CD2A-8C4E-B84F-94E080745D45}" type="slidenum">
              <a:rPr kumimoji="0" lang="pt-B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pt-B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3331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880FD3-CD2A-8C4E-B84F-94E080745D45}" type="slidenum">
              <a:rPr kumimoji="0" lang="pt-B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2695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5F999A1-BB63-54E3-8F90-5F3CA4CAB24F}"/>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AR"/>
          </a:p>
        </p:txBody>
      </p:sp>
      <p:sp>
        <p:nvSpPr>
          <p:cNvPr id="3" name="Subtítulo 2">
            <a:extLst>
              <a:ext uri="{FF2B5EF4-FFF2-40B4-BE49-F238E27FC236}">
                <a16:creationId xmlns:a16="http://schemas.microsoft.com/office/drawing/2014/main" id="{61505AC1-18DF-C614-203B-5D5B519216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AR"/>
          </a:p>
        </p:txBody>
      </p:sp>
      <p:sp>
        <p:nvSpPr>
          <p:cNvPr id="4" name="Marcador de fecha 3">
            <a:extLst>
              <a:ext uri="{FF2B5EF4-FFF2-40B4-BE49-F238E27FC236}">
                <a16:creationId xmlns:a16="http://schemas.microsoft.com/office/drawing/2014/main" id="{4E4BD28F-CA05-34EC-ECC1-6150AB31E2E9}"/>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5" name="Marcador de pie de página 4">
            <a:extLst>
              <a:ext uri="{FF2B5EF4-FFF2-40B4-BE49-F238E27FC236}">
                <a16:creationId xmlns:a16="http://schemas.microsoft.com/office/drawing/2014/main" id="{AAAC4156-A4A1-1624-1665-F3DB90AD9871}"/>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3076C7A8-D439-21F9-A2C2-B54F5E477B28}"/>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10058821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59C680E-C3E3-200A-FE32-ECA68C7DDE58}"/>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texto vertical 2">
            <a:extLst>
              <a:ext uri="{FF2B5EF4-FFF2-40B4-BE49-F238E27FC236}">
                <a16:creationId xmlns:a16="http://schemas.microsoft.com/office/drawing/2014/main" id="{BB1AA844-B7E8-7F92-C3F2-88A34ED902F6}"/>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5BB01C74-EE53-5133-2CD2-0C6630C10E54}"/>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5" name="Marcador de pie de página 4">
            <a:extLst>
              <a:ext uri="{FF2B5EF4-FFF2-40B4-BE49-F238E27FC236}">
                <a16:creationId xmlns:a16="http://schemas.microsoft.com/office/drawing/2014/main" id="{09ECB864-C069-EBE2-02AF-F8CA7723E751}"/>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FFF031D9-2617-6180-B09F-38C2668A0328}"/>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18646722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3A30C095-C0B3-9B5B-FC08-DAE1FB156432}"/>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AR"/>
          </a:p>
        </p:txBody>
      </p:sp>
      <p:sp>
        <p:nvSpPr>
          <p:cNvPr id="3" name="Marcador de texto vertical 2">
            <a:extLst>
              <a:ext uri="{FF2B5EF4-FFF2-40B4-BE49-F238E27FC236}">
                <a16:creationId xmlns:a16="http://schemas.microsoft.com/office/drawing/2014/main" id="{186365D2-80DB-A359-736D-36DB3FD97767}"/>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339D69CF-B18C-DEAF-24C5-D7D5A62EC970}"/>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5" name="Marcador de pie de página 4">
            <a:extLst>
              <a:ext uri="{FF2B5EF4-FFF2-40B4-BE49-F238E27FC236}">
                <a16:creationId xmlns:a16="http://schemas.microsoft.com/office/drawing/2014/main" id="{978A48CE-06C0-4E22-8A75-A4CC4F48F3C6}"/>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265703A2-0A0D-704C-7457-BC741883B81F}"/>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2748365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lide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314036" y="97126"/>
            <a:ext cx="11674763" cy="1103601"/>
          </a:xfrm>
        </p:spPr>
        <p:txBody>
          <a:bodyPr anchor="ctr">
            <a:noAutofit/>
          </a:bodyPr>
          <a:lstStyle>
            <a:lvl1pPr algn="l">
              <a:defRPr sz="4400"/>
            </a:lvl1pPr>
          </a:lstStyle>
          <a:p>
            <a:r>
              <a:rPr lang="pt-BR"/>
              <a:t>Clique para editar estilo do título mestre</a:t>
            </a:r>
          </a:p>
        </p:txBody>
      </p:sp>
      <p:sp>
        <p:nvSpPr>
          <p:cNvPr id="8" name="Espaço Reservado para Texto 2">
            <a:extLst>
              <a:ext uri="{FF2B5EF4-FFF2-40B4-BE49-F238E27FC236}">
                <a16:creationId xmlns:a16="http://schemas.microsoft.com/office/drawing/2014/main" id="{2FF52EDE-FD4B-46D9-9A49-E75E011808E1}"/>
              </a:ext>
            </a:extLst>
          </p:cNvPr>
          <p:cNvSpPr>
            <a:spLocks noGrp="1"/>
          </p:cNvSpPr>
          <p:nvPr>
            <p:ph idx="1"/>
          </p:nvPr>
        </p:nvSpPr>
        <p:spPr>
          <a:xfrm>
            <a:off x="838200" y="1677844"/>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pic>
        <p:nvPicPr>
          <p:cNvPr id="5" name="Picture 3">
            <a:extLst>
              <a:ext uri="{FF2B5EF4-FFF2-40B4-BE49-F238E27FC236}">
                <a16:creationId xmlns:a16="http://schemas.microsoft.com/office/drawing/2014/main" id="{74A1E9F0-316C-4208-9E1F-126661623CDE}"/>
              </a:ext>
            </a:extLst>
          </p:cNvPr>
          <p:cNvPicPr/>
          <p:nvPr userDrawn="1"/>
        </p:nvPicPr>
        <p:blipFill rotWithShape="1">
          <a:blip r:embed="rId2"/>
          <a:srcRect t="9484" b="16809"/>
          <a:stretch/>
        </p:blipFill>
        <p:spPr>
          <a:xfrm>
            <a:off x="48487" y="6316808"/>
            <a:ext cx="1616370" cy="503235"/>
          </a:xfrm>
          <a:prstGeom prst="rect">
            <a:avLst/>
          </a:prstGeom>
        </p:spPr>
      </p:pic>
    </p:spTree>
    <p:extLst>
      <p:ext uri="{BB962C8B-B14F-4D97-AF65-F5344CB8AC3E}">
        <p14:creationId xmlns:p14="http://schemas.microsoft.com/office/powerpoint/2010/main" val="3752778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F73DC69-6FF8-0A4F-995E-3F4FD3E5F101}"/>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AR"/>
          </a:p>
        </p:txBody>
      </p:sp>
      <p:sp>
        <p:nvSpPr>
          <p:cNvPr id="3" name="Subtítulo 2">
            <a:extLst>
              <a:ext uri="{FF2B5EF4-FFF2-40B4-BE49-F238E27FC236}">
                <a16:creationId xmlns:a16="http://schemas.microsoft.com/office/drawing/2014/main" id="{4D44A9B7-78F7-E6A9-FE4E-1647D321E7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AR"/>
          </a:p>
        </p:txBody>
      </p:sp>
      <p:sp>
        <p:nvSpPr>
          <p:cNvPr id="4" name="Marcador de fecha 3">
            <a:extLst>
              <a:ext uri="{FF2B5EF4-FFF2-40B4-BE49-F238E27FC236}">
                <a16:creationId xmlns:a16="http://schemas.microsoft.com/office/drawing/2014/main" id="{B5D94898-2135-36BC-29FB-18DE94B6C43F}"/>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5" name="Marcador de pie de página 4">
            <a:extLst>
              <a:ext uri="{FF2B5EF4-FFF2-40B4-BE49-F238E27FC236}">
                <a16:creationId xmlns:a16="http://schemas.microsoft.com/office/drawing/2014/main" id="{15C36D4E-E79D-B753-EA2A-A3C2C0525E29}"/>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4B895DC8-6ACF-7D20-ABF8-C68695AAAAA9}"/>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1641415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BA12EE2-0088-CC89-18EB-A6D18190B318}"/>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contenido 2">
            <a:extLst>
              <a:ext uri="{FF2B5EF4-FFF2-40B4-BE49-F238E27FC236}">
                <a16:creationId xmlns:a16="http://schemas.microsoft.com/office/drawing/2014/main" id="{D5B3C836-EB7D-8A37-6841-4F5458F1C1B5}"/>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6F954B8D-EDA5-F376-A67B-704B4997FE5E}"/>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5" name="Marcador de pie de página 4">
            <a:extLst>
              <a:ext uri="{FF2B5EF4-FFF2-40B4-BE49-F238E27FC236}">
                <a16:creationId xmlns:a16="http://schemas.microsoft.com/office/drawing/2014/main" id="{E60B7802-3140-AACA-858D-3CC215F82038}"/>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DF2F3A63-E1B9-A4B8-C967-2484691C5318}"/>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4203622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EBC4C69-0F0F-6755-DD71-189FDDFEC5C3}"/>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AR"/>
          </a:p>
        </p:txBody>
      </p:sp>
      <p:sp>
        <p:nvSpPr>
          <p:cNvPr id="3" name="Marcador de texto 2">
            <a:extLst>
              <a:ext uri="{FF2B5EF4-FFF2-40B4-BE49-F238E27FC236}">
                <a16:creationId xmlns:a16="http://schemas.microsoft.com/office/drawing/2014/main" id="{577A9B22-1BF1-FCC2-B8A2-BD21B2EDBB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7F72CB0B-296A-6F1B-A667-E73AAB87863E}"/>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5" name="Marcador de pie de página 4">
            <a:extLst>
              <a:ext uri="{FF2B5EF4-FFF2-40B4-BE49-F238E27FC236}">
                <a16:creationId xmlns:a16="http://schemas.microsoft.com/office/drawing/2014/main" id="{599D593D-D924-2542-B44D-018AC33B75C7}"/>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90A4B2C7-F37D-B2F1-4208-96FE86B13AA5}"/>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38197322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27D938B-A016-4D34-6F7D-B1EC1BAB4862}"/>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contenido 2">
            <a:extLst>
              <a:ext uri="{FF2B5EF4-FFF2-40B4-BE49-F238E27FC236}">
                <a16:creationId xmlns:a16="http://schemas.microsoft.com/office/drawing/2014/main" id="{40539458-9550-F8A6-C904-50E88BA288F8}"/>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contenido 3">
            <a:extLst>
              <a:ext uri="{FF2B5EF4-FFF2-40B4-BE49-F238E27FC236}">
                <a16:creationId xmlns:a16="http://schemas.microsoft.com/office/drawing/2014/main" id="{649E57FA-4444-104A-6F69-2460F26B954A}"/>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Marcador de fecha 4">
            <a:extLst>
              <a:ext uri="{FF2B5EF4-FFF2-40B4-BE49-F238E27FC236}">
                <a16:creationId xmlns:a16="http://schemas.microsoft.com/office/drawing/2014/main" id="{66F0B676-EB9A-82C1-32CE-D4435B659C93}"/>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6" name="Marcador de pie de página 5">
            <a:extLst>
              <a:ext uri="{FF2B5EF4-FFF2-40B4-BE49-F238E27FC236}">
                <a16:creationId xmlns:a16="http://schemas.microsoft.com/office/drawing/2014/main" id="{D510E7F0-BB54-EC35-AE0F-5778F5099C0A}"/>
              </a:ext>
            </a:extLst>
          </p:cNvPr>
          <p:cNvSpPr>
            <a:spLocks noGrp="1"/>
          </p:cNvSpPr>
          <p:nvPr>
            <p:ph type="ftr" sz="quarter" idx="11"/>
          </p:nvPr>
        </p:nvSpPr>
        <p:spPr/>
        <p:txBody>
          <a:bodyPr/>
          <a:lstStyle/>
          <a:p>
            <a:endParaRPr lang="es-AR"/>
          </a:p>
        </p:txBody>
      </p:sp>
      <p:sp>
        <p:nvSpPr>
          <p:cNvPr id="7" name="Marcador de número de diapositiva 6">
            <a:extLst>
              <a:ext uri="{FF2B5EF4-FFF2-40B4-BE49-F238E27FC236}">
                <a16:creationId xmlns:a16="http://schemas.microsoft.com/office/drawing/2014/main" id="{BD731D2B-8259-BFBF-2322-1F5ABECA9264}"/>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20361107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C135001-9324-8AC4-59F1-6FE509DBB2E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AR"/>
          </a:p>
        </p:txBody>
      </p:sp>
      <p:sp>
        <p:nvSpPr>
          <p:cNvPr id="3" name="Marcador de texto 2">
            <a:extLst>
              <a:ext uri="{FF2B5EF4-FFF2-40B4-BE49-F238E27FC236}">
                <a16:creationId xmlns:a16="http://schemas.microsoft.com/office/drawing/2014/main" id="{6689159B-D723-5636-5FF7-E442EDBC6B3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0155D79A-CE47-F96D-C055-8B5B35D15212}"/>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Marcador de texto 4">
            <a:extLst>
              <a:ext uri="{FF2B5EF4-FFF2-40B4-BE49-F238E27FC236}">
                <a16:creationId xmlns:a16="http://schemas.microsoft.com/office/drawing/2014/main" id="{E75585CD-615A-E0FD-83D2-105DD3ECAA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93F1EADF-6892-08CF-26D3-BB3AEC143290}"/>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7" name="Marcador de fecha 6">
            <a:extLst>
              <a:ext uri="{FF2B5EF4-FFF2-40B4-BE49-F238E27FC236}">
                <a16:creationId xmlns:a16="http://schemas.microsoft.com/office/drawing/2014/main" id="{C3A3E6AB-D2B9-A79A-80B1-D8A0DCCB81BC}"/>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8" name="Marcador de pie de página 7">
            <a:extLst>
              <a:ext uri="{FF2B5EF4-FFF2-40B4-BE49-F238E27FC236}">
                <a16:creationId xmlns:a16="http://schemas.microsoft.com/office/drawing/2014/main" id="{2FB5025E-3DC7-8010-B026-0BA83A0B9025}"/>
              </a:ext>
            </a:extLst>
          </p:cNvPr>
          <p:cNvSpPr>
            <a:spLocks noGrp="1"/>
          </p:cNvSpPr>
          <p:nvPr>
            <p:ph type="ftr" sz="quarter" idx="11"/>
          </p:nvPr>
        </p:nvSpPr>
        <p:spPr/>
        <p:txBody>
          <a:bodyPr/>
          <a:lstStyle/>
          <a:p>
            <a:endParaRPr lang="es-AR"/>
          </a:p>
        </p:txBody>
      </p:sp>
      <p:sp>
        <p:nvSpPr>
          <p:cNvPr id="9" name="Marcador de número de diapositiva 8">
            <a:extLst>
              <a:ext uri="{FF2B5EF4-FFF2-40B4-BE49-F238E27FC236}">
                <a16:creationId xmlns:a16="http://schemas.microsoft.com/office/drawing/2014/main" id="{D3655197-316D-533F-02C4-E3A1A94D6AB6}"/>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36051410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1FB2F0B-C540-202C-7497-034D1751A4BF}"/>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fecha 2">
            <a:extLst>
              <a:ext uri="{FF2B5EF4-FFF2-40B4-BE49-F238E27FC236}">
                <a16:creationId xmlns:a16="http://schemas.microsoft.com/office/drawing/2014/main" id="{52290C00-6721-D689-0A95-F85D0CD02E86}"/>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4" name="Marcador de pie de página 3">
            <a:extLst>
              <a:ext uri="{FF2B5EF4-FFF2-40B4-BE49-F238E27FC236}">
                <a16:creationId xmlns:a16="http://schemas.microsoft.com/office/drawing/2014/main" id="{22227C81-1845-BD7A-E56F-5AC9453AC314}"/>
              </a:ext>
            </a:extLst>
          </p:cNvPr>
          <p:cNvSpPr>
            <a:spLocks noGrp="1"/>
          </p:cNvSpPr>
          <p:nvPr>
            <p:ph type="ftr" sz="quarter" idx="11"/>
          </p:nvPr>
        </p:nvSpPr>
        <p:spPr/>
        <p:txBody>
          <a:bodyPr/>
          <a:lstStyle/>
          <a:p>
            <a:endParaRPr lang="es-AR"/>
          </a:p>
        </p:txBody>
      </p:sp>
      <p:sp>
        <p:nvSpPr>
          <p:cNvPr id="5" name="Marcador de número de diapositiva 4">
            <a:extLst>
              <a:ext uri="{FF2B5EF4-FFF2-40B4-BE49-F238E27FC236}">
                <a16:creationId xmlns:a16="http://schemas.microsoft.com/office/drawing/2014/main" id="{E4A5DC85-9BF5-2C7C-C8D4-50529636390E}"/>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3283749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CEB41979-9BC8-CC2E-1524-D5A5C2AEB8D8}"/>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3" name="Marcador de pie de página 2">
            <a:extLst>
              <a:ext uri="{FF2B5EF4-FFF2-40B4-BE49-F238E27FC236}">
                <a16:creationId xmlns:a16="http://schemas.microsoft.com/office/drawing/2014/main" id="{5776A9AB-872A-952C-5EE6-A94F4959C62C}"/>
              </a:ext>
            </a:extLst>
          </p:cNvPr>
          <p:cNvSpPr>
            <a:spLocks noGrp="1"/>
          </p:cNvSpPr>
          <p:nvPr>
            <p:ph type="ftr" sz="quarter" idx="11"/>
          </p:nvPr>
        </p:nvSpPr>
        <p:spPr/>
        <p:txBody>
          <a:bodyPr/>
          <a:lstStyle/>
          <a:p>
            <a:endParaRPr lang="es-AR"/>
          </a:p>
        </p:txBody>
      </p:sp>
      <p:sp>
        <p:nvSpPr>
          <p:cNvPr id="4" name="Marcador de número de diapositiva 3">
            <a:extLst>
              <a:ext uri="{FF2B5EF4-FFF2-40B4-BE49-F238E27FC236}">
                <a16:creationId xmlns:a16="http://schemas.microsoft.com/office/drawing/2014/main" id="{036D1923-443B-2CCF-318B-CDB6536EAF0C}"/>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4057124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C564D3-21A7-B8C5-8835-CEEB4526232C}"/>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contenido 2">
            <a:extLst>
              <a:ext uri="{FF2B5EF4-FFF2-40B4-BE49-F238E27FC236}">
                <a16:creationId xmlns:a16="http://schemas.microsoft.com/office/drawing/2014/main" id="{58761FA4-6D40-1850-8D1C-BF626B1C8B37}"/>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5AFEA92B-9606-08B9-7ECD-E895993AF642}"/>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5" name="Marcador de pie de página 4">
            <a:extLst>
              <a:ext uri="{FF2B5EF4-FFF2-40B4-BE49-F238E27FC236}">
                <a16:creationId xmlns:a16="http://schemas.microsoft.com/office/drawing/2014/main" id="{5380C466-B858-C724-BFCC-4D0A6573309B}"/>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9CBD5803-6486-42EB-70DE-DCA6150AF6CC}"/>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4825518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32149A7-4315-44F6-12D9-1DD4DC2C3C32}"/>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AR"/>
          </a:p>
        </p:txBody>
      </p:sp>
      <p:sp>
        <p:nvSpPr>
          <p:cNvPr id="3" name="Marcador de contenido 2">
            <a:extLst>
              <a:ext uri="{FF2B5EF4-FFF2-40B4-BE49-F238E27FC236}">
                <a16:creationId xmlns:a16="http://schemas.microsoft.com/office/drawing/2014/main" id="{8B176B3D-89A6-D90F-BB4E-549E9CCB7C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texto 3">
            <a:extLst>
              <a:ext uri="{FF2B5EF4-FFF2-40B4-BE49-F238E27FC236}">
                <a16:creationId xmlns:a16="http://schemas.microsoft.com/office/drawing/2014/main" id="{AB029746-DF34-684B-E37F-10146D3F23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F21A103D-64B6-4294-24B2-1D629B16000F}"/>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6" name="Marcador de pie de página 5">
            <a:extLst>
              <a:ext uri="{FF2B5EF4-FFF2-40B4-BE49-F238E27FC236}">
                <a16:creationId xmlns:a16="http://schemas.microsoft.com/office/drawing/2014/main" id="{30C8C52F-C2F3-CE45-1D7A-F22C31DA054D}"/>
              </a:ext>
            </a:extLst>
          </p:cNvPr>
          <p:cNvSpPr>
            <a:spLocks noGrp="1"/>
          </p:cNvSpPr>
          <p:nvPr>
            <p:ph type="ftr" sz="quarter" idx="11"/>
          </p:nvPr>
        </p:nvSpPr>
        <p:spPr/>
        <p:txBody>
          <a:bodyPr/>
          <a:lstStyle/>
          <a:p>
            <a:endParaRPr lang="es-AR"/>
          </a:p>
        </p:txBody>
      </p:sp>
      <p:sp>
        <p:nvSpPr>
          <p:cNvPr id="7" name="Marcador de número de diapositiva 6">
            <a:extLst>
              <a:ext uri="{FF2B5EF4-FFF2-40B4-BE49-F238E27FC236}">
                <a16:creationId xmlns:a16="http://schemas.microsoft.com/office/drawing/2014/main" id="{94868A3E-04F9-225B-41C6-76732DC7256C}"/>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6706509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B2A7D8-A5CA-B462-7EC7-65DD98C31F71}"/>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AR"/>
          </a:p>
        </p:txBody>
      </p:sp>
      <p:sp>
        <p:nvSpPr>
          <p:cNvPr id="3" name="Marcador de posición de imagen 2">
            <a:extLst>
              <a:ext uri="{FF2B5EF4-FFF2-40B4-BE49-F238E27FC236}">
                <a16:creationId xmlns:a16="http://schemas.microsoft.com/office/drawing/2014/main" id="{85EFBFB0-17DA-95F1-7137-556968A64DE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AR"/>
          </a:p>
        </p:txBody>
      </p:sp>
      <p:sp>
        <p:nvSpPr>
          <p:cNvPr id="4" name="Marcador de texto 3">
            <a:extLst>
              <a:ext uri="{FF2B5EF4-FFF2-40B4-BE49-F238E27FC236}">
                <a16:creationId xmlns:a16="http://schemas.microsoft.com/office/drawing/2014/main" id="{3EDD0C56-2ECF-2B24-309D-9B165A3F70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1F3EEAD-B696-498C-9AA0-6C8C0386D9C1}"/>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6" name="Marcador de pie de página 5">
            <a:extLst>
              <a:ext uri="{FF2B5EF4-FFF2-40B4-BE49-F238E27FC236}">
                <a16:creationId xmlns:a16="http://schemas.microsoft.com/office/drawing/2014/main" id="{FA19BDC1-730A-E7A5-74B0-77ED7B7B8B7D}"/>
              </a:ext>
            </a:extLst>
          </p:cNvPr>
          <p:cNvSpPr>
            <a:spLocks noGrp="1"/>
          </p:cNvSpPr>
          <p:nvPr>
            <p:ph type="ftr" sz="quarter" idx="11"/>
          </p:nvPr>
        </p:nvSpPr>
        <p:spPr/>
        <p:txBody>
          <a:bodyPr/>
          <a:lstStyle/>
          <a:p>
            <a:endParaRPr lang="es-AR"/>
          </a:p>
        </p:txBody>
      </p:sp>
      <p:sp>
        <p:nvSpPr>
          <p:cNvPr id="7" name="Marcador de número de diapositiva 6">
            <a:extLst>
              <a:ext uri="{FF2B5EF4-FFF2-40B4-BE49-F238E27FC236}">
                <a16:creationId xmlns:a16="http://schemas.microsoft.com/office/drawing/2014/main" id="{48ED2EBC-5432-3BBF-E168-C30DFF7D4879}"/>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25996427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105749-1EBF-2BB8-6A44-C18C3DAD605B}"/>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texto vertical 2">
            <a:extLst>
              <a:ext uri="{FF2B5EF4-FFF2-40B4-BE49-F238E27FC236}">
                <a16:creationId xmlns:a16="http://schemas.microsoft.com/office/drawing/2014/main" id="{15042378-B3A0-6ED9-888A-6CBD657FB49C}"/>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AF0789F3-594B-D9F8-B582-F48C1C32908C}"/>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5" name="Marcador de pie de página 4">
            <a:extLst>
              <a:ext uri="{FF2B5EF4-FFF2-40B4-BE49-F238E27FC236}">
                <a16:creationId xmlns:a16="http://schemas.microsoft.com/office/drawing/2014/main" id="{21B38E3E-312F-0EB2-C33A-CF34B1D8B55B}"/>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8B7AFDF9-DB52-5137-34A2-1C7B93CFDF97}"/>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33233032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4DC2EECC-8336-C456-0340-02B62C0A15D3}"/>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AR"/>
          </a:p>
        </p:txBody>
      </p:sp>
      <p:sp>
        <p:nvSpPr>
          <p:cNvPr id="3" name="Marcador de texto vertical 2">
            <a:extLst>
              <a:ext uri="{FF2B5EF4-FFF2-40B4-BE49-F238E27FC236}">
                <a16:creationId xmlns:a16="http://schemas.microsoft.com/office/drawing/2014/main" id="{C12FB28B-E924-339E-CD6B-89BD15632D92}"/>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115349AE-7171-3589-905D-5A8F5734D4F6}"/>
              </a:ext>
            </a:extLst>
          </p:cNvPr>
          <p:cNvSpPr>
            <a:spLocks noGrp="1"/>
          </p:cNvSpPr>
          <p:nvPr>
            <p:ph type="dt" sz="half" idx="10"/>
          </p:nvPr>
        </p:nvSpPr>
        <p:spPr/>
        <p:txBody>
          <a:bodyPr/>
          <a:lstStyle/>
          <a:p>
            <a:fld id="{FE5F00B2-923B-4567-9A84-63E1BBE6B45D}" type="datetimeFigureOut">
              <a:rPr lang="es-AR" smtClean="0"/>
              <a:t>23/5/2024</a:t>
            </a:fld>
            <a:endParaRPr lang="es-AR"/>
          </a:p>
        </p:txBody>
      </p:sp>
      <p:sp>
        <p:nvSpPr>
          <p:cNvPr id="5" name="Marcador de pie de página 4">
            <a:extLst>
              <a:ext uri="{FF2B5EF4-FFF2-40B4-BE49-F238E27FC236}">
                <a16:creationId xmlns:a16="http://schemas.microsoft.com/office/drawing/2014/main" id="{4E88076D-EAB6-3A71-1DB2-E04C83462C40}"/>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A0B70632-C85D-D768-B0E9-94CEC4F3B489}"/>
              </a:ext>
            </a:extLst>
          </p:cNvPr>
          <p:cNvSpPr>
            <a:spLocks noGrp="1"/>
          </p:cNvSpPr>
          <p:nvPr>
            <p:ph type="sldNum" sz="quarter" idx="12"/>
          </p:nvPr>
        </p:nvSpPr>
        <p:spPr/>
        <p:txBody>
          <a:bodyPr/>
          <a:lstStyle/>
          <a:p>
            <a:fld id="{150FA26A-1836-4CE3-863B-4F0CD8809164}" type="slidenum">
              <a:rPr lang="es-AR" smtClean="0"/>
              <a:t>‹Nº›</a:t>
            </a:fld>
            <a:endParaRPr lang="es-AR"/>
          </a:p>
        </p:txBody>
      </p:sp>
    </p:spTree>
    <p:extLst>
      <p:ext uri="{BB962C8B-B14F-4D97-AF65-F5344CB8AC3E}">
        <p14:creationId xmlns:p14="http://schemas.microsoft.com/office/powerpoint/2010/main" val="29681391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2" name="Picture 3" descr="Picture 3"/>
          <p:cNvPicPr>
            <a:picLocks noChangeAspect="1"/>
          </p:cNvPicPr>
          <p:nvPr/>
        </p:nvPicPr>
        <p:blipFill>
          <a:blip r:embed="rId2"/>
          <a:stretch>
            <a:fillRect/>
          </a:stretch>
        </p:blipFill>
        <p:spPr>
          <a:xfrm>
            <a:off x="0" y="0"/>
            <a:ext cx="12192000" cy="6858000"/>
          </a:xfrm>
          <a:prstGeom prst="rect">
            <a:avLst/>
          </a:prstGeom>
          <a:ln w="12700">
            <a:miter lim="400000"/>
          </a:ln>
        </p:spPr>
      </p:pic>
      <p:sp>
        <p:nvSpPr>
          <p:cNvPr id="34" name="Body Level One…"/>
          <p:cNvSpPr txBox="1">
            <a:spLocks noGrp="1"/>
          </p:cNvSpPr>
          <p:nvPr>
            <p:ph type="body" sz="quarter" idx="1" hasCustomPrompt="1"/>
          </p:nvPr>
        </p:nvSpPr>
        <p:spPr>
          <a:xfrm>
            <a:off x="662141" y="4427887"/>
            <a:ext cx="5789204" cy="1285516"/>
          </a:xfrm>
          <a:prstGeom prst="rect">
            <a:avLst/>
          </a:prstGeom>
        </p:spPr>
        <p:txBody>
          <a:bodyPr/>
          <a:lstStyle>
            <a:lvl1pPr marL="0" indent="0" hangingPunct="1">
              <a:buSzTx/>
              <a:buFontTx/>
              <a:buNone/>
              <a:defRPr sz="2200" b="0" i="0">
                <a:solidFill>
                  <a:srgbClr val="FFFFFF"/>
                </a:solidFill>
                <a:latin typeface="Gilroy Light" pitchFamily="2" charset="77"/>
                <a:ea typeface="Gilroy Light" pitchFamily="2" charset="77"/>
                <a:cs typeface="Gilroy Light" pitchFamily="2" charset="77"/>
                <a:sym typeface="Gilroy-Regular"/>
              </a:defRPr>
            </a:lvl1pPr>
            <a:lvl2pPr marL="0" indent="457200">
              <a:buSzTx/>
              <a:buFontTx/>
              <a:buNone/>
              <a:defRPr sz="1800">
                <a:solidFill>
                  <a:srgbClr val="FFFFFF"/>
                </a:solidFill>
                <a:latin typeface="Gilroy-Bold"/>
                <a:ea typeface="Gilroy-Bold"/>
                <a:cs typeface="Gilroy-Bold"/>
                <a:sym typeface="Gilroy-Bold"/>
              </a:defRPr>
            </a:lvl2pPr>
            <a:lvl3pPr marL="0" indent="914400">
              <a:buSzTx/>
              <a:buFontTx/>
              <a:buNone/>
              <a:defRPr sz="1800">
                <a:solidFill>
                  <a:srgbClr val="FFFFFF"/>
                </a:solidFill>
                <a:latin typeface="Gilroy-Bold"/>
                <a:ea typeface="Gilroy-Bold"/>
                <a:cs typeface="Gilroy-Bold"/>
                <a:sym typeface="Gilroy-Bold"/>
              </a:defRPr>
            </a:lvl3pPr>
            <a:lvl4pPr marL="0" indent="1371600">
              <a:buSzTx/>
              <a:buFontTx/>
              <a:buNone/>
              <a:defRPr sz="1800">
                <a:solidFill>
                  <a:srgbClr val="FFFFFF"/>
                </a:solidFill>
                <a:latin typeface="Gilroy-Bold"/>
                <a:ea typeface="Gilroy-Bold"/>
                <a:cs typeface="Gilroy-Bold"/>
                <a:sym typeface="Gilroy-Bold"/>
              </a:defRPr>
            </a:lvl4pPr>
            <a:lvl5pPr marL="0" indent="1828800">
              <a:buSzTx/>
              <a:buFontTx/>
              <a:buNone/>
              <a:defRPr sz="1800">
                <a:solidFill>
                  <a:srgbClr val="FFFFFF"/>
                </a:solidFill>
                <a:latin typeface="Gilroy-Bold"/>
                <a:ea typeface="Gilroy-Bold"/>
                <a:cs typeface="Gilroy-Bold"/>
                <a:sym typeface="Gilroy-Bold"/>
              </a:defRPr>
            </a:lvl5pPr>
          </a:lstStyle>
          <a:p>
            <a:pPr hangingPunct="1">
              <a:defRPr sz="2200">
                <a:latin typeface="Gilroy Light"/>
                <a:ea typeface="Gilroy Light"/>
                <a:cs typeface="Gilroy Light"/>
                <a:sym typeface="Gilroy Light"/>
              </a:defRPr>
            </a:pPr>
            <a:r>
              <a:rPr lang="en-US" sz="1800" dirty="0">
                <a:latin typeface="Gilroy Light"/>
                <a:ea typeface="Gilroy Light"/>
                <a:cs typeface="Gilroy Light"/>
                <a:sym typeface="Gilroy Light"/>
              </a:rPr>
              <a:t>Subhead</a:t>
            </a:r>
          </a:p>
          <a:p>
            <a:pPr hangingPunct="1">
              <a:defRPr sz="1600">
                <a:latin typeface="Gilroy-Regular"/>
                <a:ea typeface="Gilroy-Regular"/>
                <a:cs typeface="Gilroy-Regular"/>
                <a:sym typeface="Gilroy-Regular"/>
              </a:defRPr>
            </a:pPr>
            <a:r>
              <a:rPr lang="en-US" sz="1200" dirty="0">
                <a:latin typeface="Gilroy-Regular"/>
                <a:ea typeface="Gilroy-Regular"/>
                <a:cs typeface="Gilroy-Regular"/>
                <a:sym typeface="Gilroy-Regular"/>
              </a:rPr>
              <a:t>DATE</a:t>
            </a:r>
          </a:p>
        </p:txBody>
      </p:sp>
      <p:sp>
        <p:nvSpPr>
          <p:cNvPr id="3" name="Text Placeholder 2">
            <a:extLst>
              <a:ext uri="{FF2B5EF4-FFF2-40B4-BE49-F238E27FC236}">
                <a16:creationId xmlns:a16="http://schemas.microsoft.com/office/drawing/2014/main" id="{2A2CFDF6-E230-4449-AB38-80B270FC981B}"/>
              </a:ext>
            </a:extLst>
          </p:cNvPr>
          <p:cNvSpPr>
            <a:spLocks noGrp="1"/>
          </p:cNvSpPr>
          <p:nvPr>
            <p:ph type="body" sz="quarter" idx="10" hasCustomPrompt="1"/>
          </p:nvPr>
        </p:nvSpPr>
        <p:spPr>
          <a:xfrm>
            <a:off x="661988" y="1672564"/>
            <a:ext cx="5229225" cy="1885950"/>
          </a:xfrm>
        </p:spPr>
        <p:txBody>
          <a:bodyPr/>
          <a:lstStyle>
            <a:lvl1pPr marL="0" indent="0">
              <a:buNone/>
              <a:defRPr sz="7700" b="1" i="0">
                <a:solidFill>
                  <a:schemeClr val="bg1"/>
                </a:solidFill>
                <a:latin typeface="Gilroy Bold" pitchFamily="2" charset="77"/>
              </a:defRPr>
            </a:lvl1pPr>
            <a:lvl2pPr marL="180975" indent="0">
              <a:buNone/>
              <a:defRPr b="1" i="0">
                <a:solidFill>
                  <a:schemeClr val="bg1"/>
                </a:solidFill>
                <a:latin typeface="Gilroy Bold" pitchFamily="2" charset="77"/>
              </a:defRPr>
            </a:lvl2pPr>
            <a:lvl3pPr marL="361950" indent="0">
              <a:buNone/>
              <a:defRPr b="1" i="0">
                <a:solidFill>
                  <a:schemeClr val="bg1"/>
                </a:solidFill>
                <a:latin typeface="Gilroy Bold" pitchFamily="2" charset="77"/>
              </a:defRPr>
            </a:lvl3pPr>
            <a:lvl4pPr marL="534988" indent="0">
              <a:buNone/>
              <a:defRPr b="1" i="0">
                <a:solidFill>
                  <a:schemeClr val="bg1"/>
                </a:solidFill>
                <a:latin typeface="Gilroy Bold" pitchFamily="2" charset="77"/>
              </a:defRPr>
            </a:lvl4pPr>
            <a:lvl5pPr marL="715962" indent="0">
              <a:buNone/>
              <a:defRPr b="1" i="0">
                <a:solidFill>
                  <a:schemeClr val="bg1"/>
                </a:solidFill>
                <a:latin typeface="Gilroy Bold" pitchFamily="2" charset="77"/>
              </a:defRPr>
            </a:lvl5pPr>
          </a:lstStyle>
          <a:p>
            <a:pPr lvl="0"/>
            <a:r>
              <a:rPr lang="en-US" dirty="0"/>
              <a:t>Title</a:t>
            </a:r>
          </a:p>
          <a:p>
            <a:pPr lvl="0"/>
            <a:r>
              <a:rPr lang="en-US" dirty="0"/>
              <a:t>Text</a:t>
            </a:r>
          </a:p>
        </p:txBody>
      </p:sp>
    </p:spTree>
    <p:extLst>
      <p:ext uri="{BB962C8B-B14F-4D97-AF65-F5344CB8AC3E}">
        <p14:creationId xmlns:p14="http://schemas.microsoft.com/office/powerpoint/2010/main" val="109603248"/>
      </p:ext>
    </p:extLst>
  </p:cSld>
  <p:clrMapOvr>
    <a:masterClrMapping/>
  </p:clrMapOvr>
  <p:transition spd="med"/>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Divider Slide">
    <p:spTree>
      <p:nvGrpSpPr>
        <p:cNvPr id="1" name=""/>
        <p:cNvGrpSpPr/>
        <p:nvPr/>
      </p:nvGrpSpPr>
      <p:grpSpPr>
        <a:xfrm>
          <a:off x="0" y="0"/>
          <a:ext cx="0" cy="0"/>
          <a:chOff x="0" y="0"/>
          <a:chExt cx="0" cy="0"/>
        </a:xfrm>
      </p:grpSpPr>
      <p:sp>
        <p:nvSpPr>
          <p:cNvPr id="2" name="Title 36">
            <a:extLst>
              <a:ext uri="{FF2B5EF4-FFF2-40B4-BE49-F238E27FC236}">
                <a16:creationId xmlns:a16="http://schemas.microsoft.com/office/drawing/2014/main" id="{35308994-F47C-FA46-B6D8-F0B53E5205C2}"/>
              </a:ext>
            </a:extLst>
          </p:cNvPr>
          <p:cNvSpPr>
            <a:spLocks noGrp="1"/>
          </p:cNvSpPr>
          <p:nvPr>
            <p:ph type="title" hasCustomPrompt="1"/>
          </p:nvPr>
        </p:nvSpPr>
        <p:spPr>
          <a:xfrm>
            <a:off x="934115" y="865578"/>
            <a:ext cx="2521591" cy="3183143"/>
          </a:xfrm>
        </p:spPr>
        <p:txBody>
          <a:bodyPr>
            <a:noAutofit/>
          </a:bodyPr>
          <a:lstStyle>
            <a:lvl1pPr>
              <a:defRPr sz="17300" b="1" i="0">
                <a:solidFill>
                  <a:srgbClr val="5555B7"/>
                </a:solidFill>
                <a:latin typeface="Gilroy Bold" pitchFamily="2" charset="77"/>
              </a:defRPr>
            </a:lvl1pPr>
          </a:lstStyle>
          <a:p>
            <a:r>
              <a:rPr lang="en-US" dirty="0"/>
              <a:t>01</a:t>
            </a:r>
          </a:p>
        </p:txBody>
      </p:sp>
      <p:sp>
        <p:nvSpPr>
          <p:cNvPr id="3" name="Text Placeholder 2">
            <a:extLst>
              <a:ext uri="{FF2B5EF4-FFF2-40B4-BE49-F238E27FC236}">
                <a16:creationId xmlns:a16="http://schemas.microsoft.com/office/drawing/2014/main" id="{97D1B85C-6674-834E-A968-15748850CEB2}"/>
              </a:ext>
            </a:extLst>
          </p:cNvPr>
          <p:cNvSpPr>
            <a:spLocks noGrp="1"/>
          </p:cNvSpPr>
          <p:nvPr>
            <p:ph type="body" sz="quarter" idx="10" hasCustomPrompt="1"/>
          </p:nvPr>
        </p:nvSpPr>
        <p:spPr>
          <a:xfrm>
            <a:off x="2487613" y="2024063"/>
            <a:ext cx="5351462" cy="2187575"/>
          </a:xfrm>
        </p:spPr>
        <p:txBody>
          <a:bodyPr/>
          <a:lstStyle>
            <a:lvl1pPr marL="0" indent="0">
              <a:buNone/>
              <a:defRPr sz="6600" b="1" i="0">
                <a:solidFill>
                  <a:schemeClr val="bg1"/>
                </a:solidFill>
                <a:latin typeface="Gilroy Bold" pitchFamily="2" charset="77"/>
              </a:defRPr>
            </a:lvl1pPr>
            <a:lvl2pPr>
              <a:defRPr b="1" i="0">
                <a:latin typeface="Gilroy Bold" pitchFamily="2" charset="77"/>
              </a:defRPr>
            </a:lvl2pPr>
            <a:lvl3pPr>
              <a:defRPr b="1" i="0">
                <a:latin typeface="Gilroy Bold" pitchFamily="2" charset="77"/>
              </a:defRPr>
            </a:lvl3pPr>
            <a:lvl4pPr>
              <a:defRPr b="1" i="0">
                <a:latin typeface="Gilroy Bold" pitchFamily="2" charset="77"/>
              </a:defRPr>
            </a:lvl4pPr>
            <a:lvl5pPr>
              <a:defRPr b="1" i="0">
                <a:latin typeface="Gilroy Bold" pitchFamily="2" charset="77"/>
              </a:defRPr>
            </a:lvl5pPr>
          </a:lstStyle>
          <a:p>
            <a:pPr lvl="0"/>
            <a:r>
              <a:rPr lang="en-US" dirty="0"/>
              <a:t>Slide title</a:t>
            </a:r>
          </a:p>
          <a:p>
            <a:pPr lvl="0"/>
            <a:r>
              <a:rPr lang="en-US" dirty="0"/>
              <a:t>here</a:t>
            </a:r>
          </a:p>
        </p:txBody>
      </p:sp>
    </p:spTree>
    <p:extLst>
      <p:ext uri="{BB962C8B-B14F-4D97-AF65-F5344CB8AC3E}">
        <p14:creationId xmlns:p14="http://schemas.microsoft.com/office/powerpoint/2010/main" val="4030639004"/>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lide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314036" y="97126"/>
            <a:ext cx="11674763" cy="1103601"/>
          </a:xfrm>
        </p:spPr>
        <p:txBody>
          <a:bodyPr anchor="ctr">
            <a:noAutofit/>
          </a:bodyPr>
          <a:lstStyle>
            <a:lvl1pPr algn="l">
              <a:defRPr sz="4400"/>
            </a:lvl1pPr>
          </a:lstStyle>
          <a:p>
            <a:r>
              <a:rPr lang="pt-BR"/>
              <a:t>Clique para editar estilo do título mestre</a:t>
            </a:r>
          </a:p>
        </p:txBody>
      </p:sp>
      <p:sp>
        <p:nvSpPr>
          <p:cNvPr id="8" name="Espaço Reservado para Texto 2">
            <a:extLst>
              <a:ext uri="{FF2B5EF4-FFF2-40B4-BE49-F238E27FC236}">
                <a16:creationId xmlns:a16="http://schemas.microsoft.com/office/drawing/2014/main" id="{2FF52EDE-FD4B-46D9-9A49-E75E011808E1}"/>
              </a:ext>
            </a:extLst>
          </p:cNvPr>
          <p:cNvSpPr>
            <a:spLocks noGrp="1"/>
          </p:cNvSpPr>
          <p:nvPr>
            <p:ph idx="1"/>
          </p:nvPr>
        </p:nvSpPr>
        <p:spPr>
          <a:xfrm>
            <a:off x="838200" y="1677844"/>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pic>
        <p:nvPicPr>
          <p:cNvPr id="5" name="Picture 3">
            <a:extLst>
              <a:ext uri="{FF2B5EF4-FFF2-40B4-BE49-F238E27FC236}">
                <a16:creationId xmlns:a16="http://schemas.microsoft.com/office/drawing/2014/main" id="{74A1E9F0-316C-4208-9E1F-126661623CDE}"/>
              </a:ext>
            </a:extLst>
          </p:cNvPr>
          <p:cNvPicPr/>
          <p:nvPr userDrawn="1"/>
        </p:nvPicPr>
        <p:blipFill rotWithShape="1">
          <a:blip r:embed="rId2"/>
          <a:srcRect t="9484" b="16809"/>
          <a:stretch/>
        </p:blipFill>
        <p:spPr>
          <a:xfrm>
            <a:off x="48487" y="6316808"/>
            <a:ext cx="1616370" cy="503235"/>
          </a:xfrm>
          <a:prstGeom prst="rect">
            <a:avLst/>
          </a:prstGeom>
        </p:spPr>
      </p:pic>
    </p:spTree>
    <p:extLst>
      <p:ext uri="{BB962C8B-B14F-4D97-AF65-F5344CB8AC3E}">
        <p14:creationId xmlns:p14="http://schemas.microsoft.com/office/powerpoint/2010/main" val="15876325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314036" y="97126"/>
            <a:ext cx="11674763" cy="1103601"/>
          </a:xfrm>
        </p:spPr>
        <p:txBody>
          <a:bodyPr anchor="ctr">
            <a:noAutofit/>
          </a:bodyPr>
          <a:lstStyle>
            <a:lvl1pPr algn="l">
              <a:defRPr sz="4400"/>
            </a:lvl1pPr>
          </a:lstStyle>
          <a:p>
            <a:r>
              <a:rPr lang="pt-BR"/>
              <a:t>Clique para editar estilo do título mestre</a:t>
            </a:r>
          </a:p>
        </p:txBody>
      </p:sp>
      <p:sp>
        <p:nvSpPr>
          <p:cNvPr id="8" name="Espaço Reservado para Texto 2">
            <a:extLst>
              <a:ext uri="{FF2B5EF4-FFF2-40B4-BE49-F238E27FC236}">
                <a16:creationId xmlns:a16="http://schemas.microsoft.com/office/drawing/2014/main" id="{2FF52EDE-FD4B-46D9-9A49-E75E011808E1}"/>
              </a:ext>
            </a:extLst>
          </p:cNvPr>
          <p:cNvSpPr>
            <a:spLocks noGrp="1"/>
          </p:cNvSpPr>
          <p:nvPr>
            <p:ph idx="1"/>
          </p:nvPr>
        </p:nvSpPr>
        <p:spPr>
          <a:xfrm>
            <a:off x="838200" y="1677844"/>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pic>
        <p:nvPicPr>
          <p:cNvPr id="5" name="Picture 3">
            <a:extLst>
              <a:ext uri="{FF2B5EF4-FFF2-40B4-BE49-F238E27FC236}">
                <a16:creationId xmlns:a16="http://schemas.microsoft.com/office/drawing/2014/main" id="{74A1E9F0-316C-4208-9E1F-126661623CDE}"/>
              </a:ext>
            </a:extLst>
          </p:cNvPr>
          <p:cNvPicPr/>
          <p:nvPr userDrawn="1"/>
        </p:nvPicPr>
        <p:blipFill rotWithShape="1">
          <a:blip r:embed="rId2"/>
          <a:srcRect t="9484" b="16809"/>
          <a:stretch/>
        </p:blipFill>
        <p:spPr>
          <a:xfrm>
            <a:off x="48487" y="6316808"/>
            <a:ext cx="1616370" cy="503235"/>
          </a:xfrm>
          <a:prstGeom prst="rect">
            <a:avLst/>
          </a:prstGeom>
        </p:spPr>
      </p:pic>
    </p:spTree>
    <p:extLst>
      <p:ext uri="{BB962C8B-B14F-4D97-AF65-F5344CB8AC3E}">
        <p14:creationId xmlns:p14="http://schemas.microsoft.com/office/powerpoint/2010/main" val="3102025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lide de Título">
    <p:bg>
      <p:bgPr>
        <a:solidFill>
          <a:schemeClr val="bg1"/>
        </a:solid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314037" y="97127"/>
            <a:ext cx="10104582" cy="731692"/>
          </a:xfrm>
        </p:spPr>
        <p:txBody>
          <a:bodyPr anchor="ctr">
            <a:noAutofit/>
          </a:bodyPr>
          <a:lstStyle>
            <a:lvl1pPr algn="l">
              <a:defRPr sz="4000"/>
            </a:lvl1pPr>
          </a:lstStyle>
          <a:p>
            <a:r>
              <a:rPr lang="pt-BR"/>
              <a:t>Clique para editar estilo do título mestre</a:t>
            </a:r>
          </a:p>
        </p:txBody>
      </p:sp>
      <p:sp>
        <p:nvSpPr>
          <p:cNvPr id="8" name="Espaço Reservado para Texto 2">
            <a:extLst>
              <a:ext uri="{FF2B5EF4-FFF2-40B4-BE49-F238E27FC236}">
                <a16:creationId xmlns:a16="http://schemas.microsoft.com/office/drawing/2014/main" id="{2FF52EDE-FD4B-46D9-9A49-E75E011808E1}"/>
              </a:ext>
            </a:extLst>
          </p:cNvPr>
          <p:cNvSpPr>
            <a:spLocks noGrp="1"/>
          </p:cNvSpPr>
          <p:nvPr>
            <p:ph idx="1"/>
          </p:nvPr>
        </p:nvSpPr>
        <p:spPr>
          <a:xfrm>
            <a:off x="838200" y="1677844"/>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pic>
        <p:nvPicPr>
          <p:cNvPr id="6" name="Picture 3">
            <a:extLst>
              <a:ext uri="{FF2B5EF4-FFF2-40B4-BE49-F238E27FC236}">
                <a16:creationId xmlns:a16="http://schemas.microsoft.com/office/drawing/2014/main" id="{235CA5DF-4AC6-4B53-8524-5F56FDA3ECB0}"/>
              </a:ext>
            </a:extLst>
          </p:cNvPr>
          <p:cNvPicPr/>
          <p:nvPr/>
        </p:nvPicPr>
        <p:blipFill rotWithShape="1">
          <a:blip r:embed="rId2"/>
          <a:srcRect t="9484" b="16809"/>
          <a:stretch/>
        </p:blipFill>
        <p:spPr>
          <a:xfrm>
            <a:off x="10529455" y="97126"/>
            <a:ext cx="1616370" cy="503235"/>
          </a:xfrm>
          <a:prstGeom prst="rect">
            <a:avLst/>
          </a:prstGeom>
        </p:spPr>
      </p:pic>
    </p:spTree>
    <p:extLst>
      <p:ext uri="{BB962C8B-B14F-4D97-AF65-F5344CB8AC3E}">
        <p14:creationId xmlns:p14="http://schemas.microsoft.com/office/powerpoint/2010/main" val="1362378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pt-BR"/>
              <a:t>Clique para editar estilo do título mestre</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5" name="Espaço Reservado para Rodapé 4"/>
          <p:cNvSpPr>
            <a:spLocks noGrp="1"/>
          </p:cNvSpPr>
          <p:nvPr>
            <p:ph type="ftr" sz="quarter" idx="11"/>
          </p:nvPr>
        </p:nvSpPr>
        <p:spPr/>
        <p:txBody>
          <a:bodyPr/>
          <a:lstStyle/>
          <a:p>
            <a:endParaRPr lang="pt-BR" dirty="0"/>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2796367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3F11F8-B819-62D0-89EA-10A09F0D8DF4}"/>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AR"/>
          </a:p>
        </p:txBody>
      </p:sp>
      <p:sp>
        <p:nvSpPr>
          <p:cNvPr id="3" name="Marcador de texto 2">
            <a:extLst>
              <a:ext uri="{FF2B5EF4-FFF2-40B4-BE49-F238E27FC236}">
                <a16:creationId xmlns:a16="http://schemas.microsoft.com/office/drawing/2014/main" id="{65066C7E-31F0-406C-D3BA-3353523AD50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15EEB7F7-B15A-6AC4-1C31-A7D4EF08AA18}"/>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5" name="Marcador de pie de página 4">
            <a:extLst>
              <a:ext uri="{FF2B5EF4-FFF2-40B4-BE49-F238E27FC236}">
                <a16:creationId xmlns:a16="http://schemas.microsoft.com/office/drawing/2014/main" id="{083AF79F-D02F-1246-4DEB-B6B500CD1933}"/>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0A08F300-E0DF-2C5D-8ABC-5F7BC390BF72}"/>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3370697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Conteúdo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5" name="Espaço Reservado para Rodapé 4"/>
          <p:cNvSpPr>
            <a:spLocks noGrp="1"/>
          </p:cNvSpPr>
          <p:nvPr>
            <p:ph type="ftr" sz="quarter" idx="11"/>
          </p:nvPr>
        </p:nvSpPr>
        <p:spPr/>
        <p:txBody>
          <a:bodyPr/>
          <a:lstStyle/>
          <a:p>
            <a:endParaRPr lang="pt-BR" dirty="0"/>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7829122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pt-BR"/>
              <a:t>Clique para editar estilo do título mestre</a:t>
            </a:r>
          </a:p>
        </p:txBody>
      </p:sp>
      <p:sp>
        <p:nvSpPr>
          <p:cNvPr id="3" name="Espaço Reservado para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5" name="Espaço Reservado para Rodapé 4"/>
          <p:cNvSpPr>
            <a:spLocks noGrp="1"/>
          </p:cNvSpPr>
          <p:nvPr>
            <p:ph type="ftr" sz="quarter" idx="11"/>
          </p:nvPr>
        </p:nvSpPr>
        <p:spPr/>
        <p:txBody>
          <a:bodyPr/>
          <a:lstStyle/>
          <a:p>
            <a:endParaRPr lang="pt-BR" dirty="0"/>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1281562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Conteúdo 2"/>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6" name="Espaço Reservado para Rodapé 5"/>
          <p:cNvSpPr>
            <a:spLocks noGrp="1"/>
          </p:cNvSpPr>
          <p:nvPr>
            <p:ph type="ftr" sz="quarter" idx="11"/>
          </p:nvPr>
        </p:nvSpPr>
        <p:spPr/>
        <p:txBody>
          <a:bodyPr/>
          <a:lstStyle/>
          <a:p>
            <a:endParaRPr lang="pt-BR" dirty="0"/>
          </a:p>
        </p:txBody>
      </p:sp>
      <p:sp>
        <p:nvSpPr>
          <p:cNvPr id="7" name="Espaço Reservado para Número de Slide 6"/>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21302790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pt-BR"/>
              <a:t>Clique para editar estilo do título mestre</a:t>
            </a:r>
          </a:p>
        </p:txBody>
      </p:sp>
      <p:sp>
        <p:nvSpPr>
          <p:cNvPr id="3" name="Espaço Reservado para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8" name="Espaço Reservado para Rodapé 7"/>
          <p:cNvSpPr>
            <a:spLocks noGrp="1"/>
          </p:cNvSpPr>
          <p:nvPr>
            <p:ph type="ftr" sz="quarter" idx="11"/>
          </p:nvPr>
        </p:nvSpPr>
        <p:spPr/>
        <p:txBody>
          <a:bodyPr/>
          <a:lstStyle/>
          <a:p>
            <a:endParaRPr lang="pt-BR" dirty="0"/>
          </a:p>
        </p:txBody>
      </p:sp>
      <p:sp>
        <p:nvSpPr>
          <p:cNvPr id="9" name="Espaço Reservado para Número de Slide 8"/>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24677691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pt-BR" sz="3200" b="1" i="0" baseline="0" dirty="0">
              <a:latin typeface="Arial" panose="020B0604020202020204" pitchFamily="34" charset="0"/>
              <a:sym typeface="Arial" panose="020B0604020202020204" pitchFamily="34" charset="0"/>
            </a:endParaRPr>
          </a:p>
        </p:txBody>
      </p:sp>
      <p:sp>
        <p:nvSpPr>
          <p:cNvPr id="2" name="Título 1"/>
          <p:cNvSpPr>
            <a:spLocks noGrp="1"/>
          </p:cNvSpPr>
          <p:nvPr>
            <p:ph type="title"/>
          </p:nvPr>
        </p:nvSpPr>
        <p:spPr>
          <a:xfrm>
            <a:off x="180975" y="127001"/>
            <a:ext cx="11839576" cy="1054100"/>
          </a:xfrm>
        </p:spPr>
        <p:txBody>
          <a:bodyPr>
            <a:normAutofit/>
          </a:bodyPr>
          <a:lstStyle>
            <a:lvl1pPr>
              <a:defRPr sz="3200"/>
            </a:lvl1pPr>
          </a:lstStyle>
          <a:p>
            <a:r>
              <a:rPr lang="pt-BR"/>
              <a:t>Clique para editar estilo do título mestre</a:t>
            </a:r>
          </a:p>
        </p:txBody>
      </p:sp>
      <p:sp>
        <p:nvSpPr>
          <p:cNvPr id="3" name="Espaço Reservado para Data 2"/>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4" name="Espaço Reservado para Rodapé 3"/>
          <p:cNvSpPr>
            <a:spLocks noGrp="1"/>
          </p:cNvSpPr>
          <p:nvPr>
            <p:ph type="ftr" sz="quarter" idx="11"/>
          </p:nvPr>
        </p:nvSpPr>
        <p:spPr/>
        <p:txBody>
          <a:bodyPr/>
          <a:lstStyle/>
          <a:p>
            <a:endParaRPr lang="pt-BR" dirty="0"/>
          </a:p>
        </p:txBody>
      </p:sp>
      <p:sp>
        <p:nvSpPr>
          <p:cNvPr id="5" name="Espaço Reservado para Número de Slide 4"/>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38704297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3" name="Espaço Reservado para Rodapé 2"/>
          <p:cNvSpPr>
            <a:spLocks noGrp="1"/>
          </p:cNvSpPr>
          <p:nvPr>
            <p:ph type="ftr" sz="quarter" idx="11"/>
          </p:nvPr>
        </p:nvSpPr>
        <p:spPr/>
        <p:txBody>
          <a:bodyPr/>
          <a:lstStyle/>
          <a:p>
            <a:endParaRPr lang="pt-BR" dirty="0"/>
          </a:p>
        </p:txBody>
      </p:sp>
      <p:sp>
        <p:nvSpPr>
          <p:cNvPr id="4" name="Espaço Reservado para Número de Slide 3"/>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7393539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a:t>Clique para editar estilo do título mestre</a:t>
            </a:r>
          </a:p>
        </p:txBody>
      </p:sp>
      <p:sp>
        <p:nvSpPr>
          <p:cNvPr id="3" name="Espaço Reservado para Conteú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6" name="Espaço Reservado para Rodapé 5"/>
          <p:cNvSpPr>
            <a:spLocks noGrp="1"/>
          </p:cNvSpPr>
          <p:nvPr>
            <p:ph type="ftr" sz="quarter" idx="11"/>
          </p:nvPr>
        </p:nvSpPr>
        <p:spPr/>
        <p:txBody>
          <a:bodyPr/>
          <a:lstStyle/>
          <a:p>
            <a:endParaRPr lang="pt-BR" dirty="0"/>
          </a:p>
        </p:txBody>
      </p:sp>
      <p:sp>
        <p:nvSpPr>
          <p:cNvPr id="7" name="Espaço Reservado para Número de Slide 6"/>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35234940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a:t>Clique para editar estilo do título mestre</a:t>
            </a:r>
          </a:p>
        </p:txBody>
      </p:sp>
      <p:sp>
        <p:nvSpPr>
          <p:cNvPr id="3" name="Espaço Reservado para Imagem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dirty="0"/>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6" name="Espaço Reservado para Rodapé 5"/>
          <p:cNvSpPr>
            <a:spLocks noGrp="1"/>
          </p:cNvSpPr>
          <p:nvPr>
            <p:ph type="ftr" sz="quarter" idx="11"/>
          </p:nvPr>
        </p:nvSpPr>
        <p:spPr/>
        <p:txBody>
          <a:bodyPr/>
          <a:lstStyle/>
          <a:p>
            <a:endParaRPr lang="pt-BR" dirty="0"/>
          </a:p>
        </p:txBody>
      </p:sp>
      <p:sp>
        <p:nvSpPr>
          <p:cNvPr id="7" name="Espaço Reservado para Número de Slide 6"/>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32316345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Texto Vertical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5" name="Espaço Reservado para Rodapé 4"/>
          <p:cNvSpPr>
            <a:spLocks noGrp="1"/>
          </p:cNvSpPr>
          <p:nvPr>
            <p:ph type="ftr" sz="quarter" idx="11"/>
          </p:nvPr>
        </p:nvSpPr>
        <p:spPr/>
        <p:txBody>
          <a:bodyPr/>
          <a:lstStyle/>
          <a:p>
            <a:endParaRPr lang="pt-BR" dirty="0"/>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37213044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pt-BR"/>
              <a:t>Clique para editar estilo do título mestre</a:t>
            </a:r>
          </a:p>
        </p:txBody>
      </p:sp>
      <p:sp>
        <p:nvSpPr>
          <p:cNvPr id="3" name="Espaço Reservado para Texto Vertical 2"/>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3/05/2024</a:t>
            </a:fld>
            <a:endParaRPr lang="pt-BR" dirty="0"/>
          </a:p>
        </p:txBody>
      </p:sp>
      <p:sp>
        <p:nvSpPr>
          <p:cNvPr id="5" name="Espaço Reservado para Rodapé 4"/>
          <p:cNvSpPr>
            <a:spLocks noGrp="1"/>
          </p:cNvSpPr>
          <p:nvPr>
            <p:ph type="ftr" sz="quarter" idx="11"/>
          </p:nvPr>
        </p:nvSpPr>
        <p:spPr/>
        <p:txBody>
          <a:bodyPr/>
          <a:lstStyle/>
          <a:p>
            <a:endParaRPr lang="pt-BR" dirty="0"/>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dirty="0"/>
          </a:p>
        </p:txBody>
      </p:sp>
    </p:spTree>
    <p:extLst>
      <p:ext uri="{BB962C8B-B14F-4D97-AF65-F5344CB8AC3E}">
        <p14:creationId xmlns:p14="http://schemas.microsoft.com/office/powerpoint/2010/main" val="38558972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620F4A-25C1-4645-C82E-CF8CE1DB3000}"/>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contenido 2">
            <a:extLst>
              <a:ext uri="{FF2B5EF4-FFF2-40B4-BE49-F238E27FC236}">
                <a16:creationId xmlns:a16="http://schemas.microsoft.com/office/drawing/2014/main" id="{F0F05BB2-8B5A-88BF-21D3-76F9CEA8CBDF}"/>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contenido 3">
            <a:extLst>
              <a:ext uri="{FF2B5EF4-FFF2-40B4-BE49-F238E27FC236}">
                <a16:creationId xmlns:a16="http://schemas.microsoft.com/office/drawing/2014/main" id="{C7BA0E72-41EF-14EC-2D96-459E63DDDC60}"/>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Marcador de fecha 4">
            <a:extLst>
              <a:ext uri="{FF2B5EF4-FFF2-40B4-BE49-F238E27FC236}">
                <a16:creationId xmlns:a16="http://schemas.microsoft.com/office/drawing/2014/main" id="{9AF1740D-85EB-FC39-4960-3399F53A6AB3}"/>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6" name="Marcador de pie de página 5">
            <a:extLst>
              <a:ext uri="{FF2B5EF4-FFF2-40B4-BE49-F238E27FC236}">
                <a16:creationId xmlns:a16="http://schemas.microsoft.com/office/drawing/2014/main" id="{C5D34D95-E8C2-EC8A-4907-1712295792A3}"/>
              </a:ext>
            </a:extLst>
          </p:cNvPr>
          <p:cNvSpPr>
            <a:spLocks noGrp="1"/>
          </p:cNvSpPr>
          <p:nvPr>
            <p:ph type="ftr" sz="quarter" idx="11"/>
          </p:nvPr>
        </p:nvSpPr>
        <p:spPr/>
        <p:txBody>
          <a:bodyPr/>
          <a:lstStyle/>
          <a:p>
            <a:endParaRPr lang="es-AR"/>
          </a:p>
        </p:txBody>
      </p:sp>
      <p:sp>
        <p:nvSpPr>
          <p:cNvPr id="7" name="Marcador de número de diapositiva 6">
            <a:extLst>
              <a:ext uri="{FF2B5EF4-FFF2-40B4-BE49-F238E27FC236}">
                <a16:creationId xmlns:a16="http://schemas.microsoft.com/office/drawing/2014/main" id="{D4F2B2AD-B91B-78D0-D9A9-9F2FDEF13952}"/>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38459242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2152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59F806-7B2B-402D-BF57-0795A5560A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ct 4" hidden="1">
                        <a:extLst>
                          <a:ext uri="{FF2B5EF4-FFF2-40B4-BE49-F238E27FC236}">
                            <a16:creationId xmlns:a16="http://schemas.microsoft.com/office/drawing/2014/main" id="{7E59F806-7B2B-402D-BF57-0795A5560A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2EDBD6F-66CB-4B71-9200-9138DAA9E5C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panose="020F0502020204030204" pitchFamily="34" charset="0"/>
            </a:endParaRPr>
          </a:p>
        </p:txBody>
      </p:sp>
      <p:sp>
        <p:nvSpPr>
          <p:cNvPr id="2" name="Title 1"/>
          <p:cNvSpPr>
            <a:spLocks noGrp="1"/>
          </p:cNvSpPr>
          <p:nvPr>
            <p:ph type="title"/>
          </p:nvPr>
        </p:nvSpPr>
        <p:spPr>
          <a:xfrm>
            <a:off x="179283" y="808490"/>
            <a:ext cx="11833435" cy="430887"/>
          </a:xfrm>
        </p:spPr>
        <p:txBody>
          <a:bodyPr vert="horz" wrap="square" lIns="0" tIns="0" rIns="0" bIns="0" rtlCol="0" anchor="t">
            <a:noAutofit/>
          </a:bodyPr>
          <a:lstStyle>
            <a:lvl1pPr>
              <a:defRPr lang="en-US">
                <a:solidFill>
                  <a:schemeClr val="accent1">
                    <a:lumMod val="75000"/>
                  </a:schemeClr>
                </a:solidFill>
              </a:defRPr>
            </a:lvl1pPr>
          </a:lstStyle>
          <a:p>
            <a:pPr marL="0" lvl="0">
              <a:lnSpc>
                <a:spcPct val="100000"/>
              </a:lnSpc>
            </a:pPr>
            <a:r>
              <a:rPr lang="en-US"/>
              <a:t>Click to edit Master title style</a:t>
            </a:r>
          </a:p>
        </p:txBody>
      </p:sp>
      <p:sp>
        <p:nvSpPr>
          <p:cNvPr id="6" name="Content Placeholder 2"/>
          <p:cNvSpPr>
            <a:spLocks noGrp="1"/>
          </p:cNvSpPr>
          <p:nvPr>
            <p:ph idx="1"/>
          </p:nvPr>
        </p:nvSpPr>
        <p:spPr>
          <a:xfrm>
            <a:off x="609600" y="1600203"/>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5312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8CA8B0-7316-5E79-EBC6-3E722F34F93C}"/>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AR"/>
          </a:p>
        </p:txBody>
      </p:sp>
      <p:sp>
        <p:nvSpPr>
          <p:cNvPr id="3" name="Marcador de texto 2">
            <a:extLst>
              <a:ext uri="{FF2B5EF4-FFF2-40B4-BE49-F238E27FC236}">
                <a16:creationId xmlns:a16="http://schemas.microsoft.com/office/drawing/2014/main" id="{C039CCD2-D5B0-7F74-5A8E-D91FA3A4A7F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FF83ADB0-D3D3-0A1E-6574-983EFEDD9A64}"/>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Marcador de texto 4">
            <a:extLst>
              <a:ext uri="{FF2B5EF4-FFF2-40B4-BE49-F238E27FC236}">
                <a16:creationId xmlns:a16="http://schemas.microsoft.com/office/drawing/2014/main" id="{102DAD98-31ED-B123-D627-D9D2267159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8B311EA8-CA3D-D6BE-6B41-748B5F85BDFA}"/>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7" name="Marcador de fecha 6">
            <a:extLst>
              <a:ext uri="{FF2B5EF4-FFF2-40B4-BE49-F238E27FC236}">
                <a16:creationId xmlns:a16="http://schemas.microsoft.com/office/drawing/2014/main" id="{9EDF65C9-B251-C8CA-EC9F-2A61C9702573}"/>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8" name="Marcador de pie de página 7">
            <a:extLst>
              <a:ext uri="{FF2B5EF4-FFF2-40B4-BE49-F238E27FC236}">
                <a16:creationId xmlns:a16="http://schemas.microsoft.com/office/drawing/2014/main" id="{AC5A7F75-6CB3-E2EB-E78D-BC6CDBB0EBBF}"/>
              </a:ext>
            </a:extLst>
          </p:cNvPr>
          <p:cNvSpPr>
            <a:spLocks noGrp="1"/>
          </p:cNvSpPr>
          <p:nvPr>
            <p:ph type="ftr" sz="quarter" idx="11"/>
          </p:nvPr>
        </p:nvSpPr>
        <p:spPr/>
        <p:txBody>
          <a:bodyPr/>
          <a:lstStyle/>
          <a:p>
            <a:endParaRPr lang="es-AR"/>
          </a:p>
        </p:txBody>
      </p:sp>
      <p:sp>
        <p:nvSpPr>
          <p:cNvPr id="9" name="Marcador de número de diapositiva 8">
            <a:extLst>
              <a:ext uri="{FF2B5EF4-FFF2-40B4-BE49-F238E27FC236}">
                <a16:creationId xmlns:a16="http://schemas.microsoft.com/office/drawing/2014/main" id="{242880EB-E63D-C890-489A-4D17A4514A31}"/>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225601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3849CD9-2271-70F6-6816-838BFECE1BCB}"/>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fecha 2">
            <a:extLst>
              <a:ext uri="{FF2B5EF4-FFF2-40B4-BE49-F238E27FC236}">
                <a16:creationId xmlns:a16="http://schemas.microsoft.com/office/drawing/2014/main" id="{8FB37728-2843-9BBB-DE0F-2CB06FFF7FCD}"/>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4" name="Marcador de pie de página 3">
            <a:extLst>
              <a:ext uri="{FF2B5EF4-FFF2-40B4-BE49-F238E27FC236}">
                <a16:creationId xmlns:a16="http://schemas.microsoft.com/office/drawing/2014/main" id="{2BD3DEDF-6535-1FD4-FC71-C7ADC32DA7EF}"/>
              </a:ext>
            </a:extLst>
          </p:cNvPr>
          <p:cNvSpPr>
            <a:spLocks noGrp="1"/>
          </p:cNvSpPr>
          <p:nvPr>
            <p:ph type="ftr" sz="quarter" idx="11"/>
          </p:nvPr>
        </p:nvSpPr>
        <p:spPr/>
        <p:txBody>
          <a:bodyPr/>
          <a:lstStyle/>
          <a:p>
            <a:endParaRPr lang="es-AR"/>
          </a:p>
        </p:txBody>
      </p:sp>
      <p:sp>
        <p:nvSpPr>
          <p:cNvPr id="5" name="Marcador de número de diapositiva 4">
            <a:extLst>
              <a:ext uri="{FF2B5EF4-FFF2-40B4-BE49-F238E27FC236}">
                <a16:creationId xmlns:a16="http://schemas.microsoft.com/office/drawing/2014/main" id="{17D6751A-E936-4A9E-CE4A-9F8E24601292}"/>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35199658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99327225-A23C-A666-9BAD-116BAD40096E}"/>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3" name="Marcador de pie de página 2">
            <a:extLst>
              <a:ext uri="{FF2B5EF4-FFF2-40B4-BE49-F238E27FC236}">
                <a16:creationId xmlns:a16="http://schemas.microsoft.com/office/drawing/2014/main" id="{08ECE049-6258-6874-02FC-E5B0305486A6}"/>
              </a:ext>
            </a:extLst>
          </p:cNvPr>
          <p:cNvSpPr>
            <a:spLocks noGrp="1"/>
          </p:cNvSpPr>
          <p:nvPr>
            <p:ph type="ftr" sz="quarter" idx="11"/>
          </p:nvPr>
        </p:nvSpPr>
        <p:spPr/>
        <p:txBody>
          <a:bodyPr/>
          <a:lstStyle/>
          <a:p>
            <a:endParaRPr lang="es-AR"/>
          </a:p>
        </p:txBody>
      </p:sp>
      <p:sp>
        <p:nvSpPr>
          <p:cNvPr id="4" name="Marcador de número de diapositiva 3">
            <a:extLst>
              <a:ext uri="{FF2B5EF4-FFF2-40B4-BE49-F238E27FC236}">
                <a16:creationId xmlns:a16="http://schemas.microsoft.com/office/drawing/2014/main" id="{D13836EA-6B2B-A391-8EC6-2FAF73613AFA}"/>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134970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CCB0C7A-1150-3F02-E47A-AE57E386711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AR"/>
          </a:p>
        </p:txBody>
      </p:sp>
      <p:sp>
        <p:nvSpPr>
          <p:cNvPr id="3" name="Marcador de contenido 2">
            <a:extLst>
              <a:ext uri="{FF2B5EF4-FFF2-40B4-BE49-F238E27FC236}">
                <a16:creationId xmlns:a16="http://schemas.microsoft.com/office/drawing/2014/main" id="{8E90B954-4977-193A-7981-7C12E0FBC4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texto 3">
            <a:extLst>
              <a:ext uri="{FF2B5EF4-FFF2-40B4-BE49-F238E27FC236}">
                <a16:creationId xmlns:a16="http://schemas.microsoft.com/office/drawing/2014/main" id="{5B85039D-10D9-3379-2F68-B819DF6CD3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7001A3F8-7C50-3682-2CB4-597FDB2E5EFE}"/>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6" name="Marcador de pie de página 5">
            <a:extLst>
              <a:ext uri="{FF2B5EF4-FFF2-40B4-BE49-F238E27FC236}">
                <a16:creationId xmlns:a16="http://schemas.microsoft.com/office/drawing/2014/main" id="{3F73F186-0E0A-884F-1E96-3708488F7FB2}"/>
              </a:ext>
            </a:extLst>
          </p:cNvPr>
          <p:cNvSpPr>
            <a:spLocks noGrp="1"/>
          </p:cNvSpPr>
          <p:nvPr>
            <p:ph type="ftr" sz="quarter" idx="11"/>
          </p:nvPr>
        </p:nvSpPr>
        <p:spPr/>
        <p:txBody>
          <a:bodyPr/>
          <a:lstStyle/>
          <a:p>
            <a:endParaRPr lang="es-AR"/>
          </a:p>
        </p:txBody>
      </p:sp>
      <p:sp>
        <p:nvSpPr>
          <p:cNvPr id="7" name="Marcador de número de diapositiva 6">
            <a:extLst>
              <a:ext uri="{FF2B5EF4-FFF2-40B4-BE49-F238E27FC236}">
                <a16:creationId xmlns:a16="http://schemas.microsoft.com/office/drawing/2014/main" id="{B76B03A1-2CD2-F83E-EEBC-F0498D5B0EAA}"/>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5554072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80C1120-2355-696C-A2C8-28CDEB33DC0E}"/>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AR"/>
          </a:p>
        </p:txBody>
      </p:sp>
      <p:sp>
        <p:nvSpPr>
          <p:cNvPr id="3" name="Marcador de posición de imagen 2">
            <a:extLst>
              <a:ext uri="{FF2B5EF4-FFF2-40B4-BE49-F238E27FC236}">
                <a16:creationId xmlns:a16="http://schemas.microsoft.com/office/drawing/2014/main" id="{E55BF237-A11E-0BAC-BFBB-60873879661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AR"/>
          </a:p>
        </p:txBody>
      </p:sp>
      <p:sp>
        <p:nvSpPr>
          <p:cNvPr id="4" name="Marcador de texto 3">
            <a:extLst>
              <a:ext uri="{FF2B5EF4-FFF2-40B4-BE49-F238E27FC236}">
                <a16:creationId xmlns:a16="http://schemas.microsoft.com/office/drawing/2014/main" id="{4E89298E-0EC0-DDF2-A780-C7BA5DB753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7F4B3208-6637-5B50-7511-00A1ACA7217F}"/>
              </a:ext>
            </a:extLst>
          </p:cNvPr>
          <p:cNvSpPr>
            <a:spLocks noGrp="1"/>
          </p:cNvSpPr>
          <p:nvPr>
            <p:ph type="dt" sz="half" idx="10"/>
          </p:nvPr>
        </p:nvSpPr>
        <p:spPr/>
        <p:txBody>
          <a:bodyPr/>
          <a:lstStyle/>
          <a:p>
            <a:fld id="{DB0390FD-0941-47EE-B459-DF144385990C}" type="datetimeFigureOut">
              <a:rPr lang="es-AR" smtClean="0"/>
              <a:t>23/5/2024</a:t>
            </a:fld>
            <a:endParaRPr lang="es-AR"/>
          </a:p>
        </p:txBody>
      </p:sp>
      <p:sp>
        <p:nvSpPr>
          <p:cNvPr id="6" name="Marcador de pie de página 5">
            <a:extLst>
              <a:ext uri="{FF2B5EF4-FFF2-40B4-BE49-F238E27FC236}">
                <a16:creationId xmlns:a16="http://schemas.microsoft.com/office/drawing/2014/main" id="{D0AAEF8E-5555-7877-62B7-42C9A921C360}"/>
              </a:ext>
            </a:extLst>
          </p:cNvPr>
          <p:cNvSpPr>
            <a:spLocks noGrp="1"/>
          </p:cNvSpPr>
          <p:nvPr>
            <p:ph type="ftr" sz="quarter" idx="11"/>
          </p:nvPr>
        </p:nvSpPr>
        <p:spPr/>
        <p:txBody>
          <a:bodyPr/>
          <a:lstStyle/>
          <a:p>
            <a:endParaRPr lang="es-AR"/>
          </a:p>
        </p:txBody>
      </p:sp>
      <p:sp>
        <p:nvSpPr>
          <p:cNvPr id="7" name="Marcador de número de diapositiva 6">
            <a:extLst>
              <a:ext uri="{FF2B5EF4-FFF2-40B4-BE49-F238E27FC236}">
                <a16:creationId xmlns:a16="http://schemas.microsoft.com/office/drawing/2014/main" id="{27A27A4C-89E8-D287-5F1B-89448F6EB980}"/>
              </a:ext>
            </a:extLst>
          </p:cNvPr>
          <p:cNvSpPr>
            <a:spLocks noGrp="1"/>
          </p:cNvSpPr>
          <p:nvPr>
            <p:ph type="sldNum" sz="quarter" idx="12"/>
          </p:nvPr>
        </p:nvSpPr>
        <p:spPr/>
        <p:txBody>
          <a:bodyPr/>
          <a:lstStyle/>
          <a:p>
            <a:fld id="{81738737-81F5-452C-8EFF-E91AD81689A6}" type="slidenum">
              <a:rPr lang="es-AR" smtClean="0"/>
              <a:t>‹Nº›</a:t>
            </a:fld>
            <a:endParaRPr lang="es-AR"/>
          </a:p>
        </p:txBody>
      </p:sp>
    </p:spTree>
    <p:extLst>
      <p:ext uri="{BB962C8B-B14F-4D97-AF65-F5344CB8AC3E}">
        <p14:creationId xmlns:p14="http://schemas.microsoft.com/office/powerpoint/2010/main" val="4075026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4.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3.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2.bin"/><Relationship Id="rId2" Type="http://schemas.openxmlformats.org/officeDocument/2006/relationships/slideLayout" Target="../slideLayouts/slideLayout30.xml"/><Relationship Id="rId16" Type="http://schemas.openxmlformats.org/officeDocument/2006/relationships/tags" Target="../tags/tag3.xml"/><Relationship Id="rId20" Type="http://schemas.openxmlformats.org/officeDocument/2006/relationships/image" Target="../media/image6.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2.xml"/><Relationship Id="rId10" Type="http://schemas.openxmlformats.org/officeDocument/2006/relationships/slideLayout" Target="../slideLayouts/slideLayout38.xml"/><Relationship Id="rId19" Type="http://schemas.openxmlformats.org/officeDocument/2006/relationships/image" Target="../media/image5.png"/><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719FA084-FDA1-6EC3-B5C8-20E4DBA18C9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AR"/>
          </a:p>
        </p:txBody>
      </p:sp>
      <p:sp>
        <p:nvSpPr>
          <p:cNvPr id="3" name="Marcador de texto 2">
            <a:extLst>
              <a:ext uri="{FF2B5EF4-FFF2-40B4-BE49-F238E27FC236}">
                <a16:creationId xmlns:a16="http://schemas.microsoft.com/office/drawing/2014/main" id="{95E483A4-A40F-BC90-0103-4D510570679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25645443-37C2-7EA3-86C0-13EBFB47D12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0390FD-0941-47EE-B459-DF144385990C}" type="datetimeFigureOut">
              <a:rPr lang="es-AR" smtClean="0"/>
              <a:t>23/5/2024</a:t>
            </a:fld>
            <a:endParaRPr lang="es-AR"/>
          </a:p>
        </p:txBody>
      </p:sp>
      <p:sp>
        <p:nvSpPr>
          <p:cNvPr id="5" name="Marcador de pie de página 4">
            <a:extLst>
              <a:ext uri="{FF2B5EF4-FFF2-40B4-BE49-F238E27FC236}">
                <a16:creationId xmlns:a16="http://schemas.microsoft.com/office/drawing/2014/main" id="{C7F33D28-047C-7495-6C89-9E610E6356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AR"/>
          </a:p>
        </p:txBody>
      </p:sp>
      <p:sp>
        <p:nvSpPr>
          <p:cNvPr id="6" name="Marcador de número de diapositiva 5">
            <a:extLst>
              <a:ext uri="{FF2B5EF4-FFF2-40B4-BE49-F238E27FC236}">
                <a16:creationId xmlns:a16="http://schemas.microsoft.com/office/drawing/2014/main" id="{47D4A911-CE6D-0AC5-11C9-A4490A8474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738737-81F5-452C-8EFF-E91AD81689A6}" type="slidenum">
              <a:rPr lang="es-AR" smtClean="0"/>
              <a:t>‹Nº›</a:t>
            </a:fld>
            <a:endParaRPr lang="es-AR"/>
          </a:p>
        </p:txBody>
      </p:sp>
    </p:spTree>
    <p:extLst>
      <p:ext uri="{BB962C8B-B14F-4D97-AF65-F5344CB8AC3E}">
        <p14:creationId xmlns:p14="http://schemas.microsoft.com/office/powerpoint/2010/main" val="34363432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3C6263C1-F23F-9FDA-E6A6-F5FB883675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AR"/>
          </a:p>
        </p:txBody>
      </p:sp>
      <p:sp>
        <p:nvSpPr>
          <p:cNvPr id="3" name="Marcador de texto 2">
            <a:extLst>
              <a:ext uri="{FF2B5EF4-FFF2-40B4-BE49-F238E27FC236}">
                <a16:creationId xmlns:a16="http://schemas.microsoft.com/office/drawing/2014/main" id="{F8246C04-BE82-45C2-DD4B-60AA22A294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878D3EC2-0081-0C42-7904-3DCB7B8461B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5F00B2-923B-4567-9A84-63E1BBE6B45D}" type="datetimeFigureOut">
              <a:rPr lang="es-AR" smtClean="0"/>
              <a:t>23/5/2024</a:t>
            </a:fld>
            <a:endParaRPr lang="es-AR"/>
          </a:p>
        </p:txBody>
      </p:sp>
      <p:sp>
        <p:nvSpPr>
          <p:cNvPr id="5" name="Marcador de pie de página 4">
            <a:extLst>
              <a:ext uri="{FF2B5EF4-FFF2-40B4-BE49-F238E27FC236}">
                <a16:creationId xmlns:a16="http://schemas.microsoft.com/office/drawing/2014/main" id="{EED678CC-63B5-6FA3-6537-64F2D3831C7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AR"/>
          </a:p>
        </p:txBody>
      </p:sp>
      <p:sp>
        <p:nvSpPr>
          <p:cNvPr id="6" name="Marcador de número de diapositiva 5">
            <a:extLst>
              <a:ext uri="{FF2B5EF4-FFF2-40B4-BE49-F238E27FC236}">
                <a16:creationId xmlns:a16="http://schemas.microsoft.com/office/drawing/2014/main" id="{EE3FE1F4-B494-140B-C845-E4B3C901E5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0FA26A-1836-4CE3-863B-4F0CD8809164}" type="slidenum">
              <a:rPr lang="es-AR" smtClean="0"/>
              <a:t>‹Nº›</a:t>
            </a:fld>
            <a:endParaRPr lang="es-AR"/>
          </a:p>
        </p:txBody>
      </p:sp>
    </p:spTree>
    <p:extLst>
      <p:ext uri="{BB962C8B-B14F-4D97-AF65-F5344CB8AC3E}">
        <p14:creationId xmlns:p14="http://schemas.microsoft.com/office/powerpoint/2010/main" val="11255791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C3AC35-7E53-44E6-8BF8-09422E643472}"/>
              </a:ext>
            </a:extLst>
          </p:cNvPr>
          <p:cNvGraphicFramePr>
            <a:graphicFrameLocks noChangeAspect="1"/>
          </p:cNvGraphicFramePr>
          <p:nvPr userDrawn="1">
            <p:custDataLst>
              <p:tags r:id="rId4"/>
            </p:custDataLst>
            <p:extLst>
              <p:ext uri="{D42A27DB-BD31-4B8C-83A1-F6EECF244321}">
                <p14:modId xmlns:p14="http://schemas.microsoft.com/office/powerpoint/2010/main" val="1685420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6FC3AC35-7E53-44E6-8BF8-09422E6434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Espaço Reservado para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estilo do título mestre</a:t>
            </a: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pic>
        <p:nvPicPr>
          <p:cNvPr id="6" name="Imagem 5">
            <a:extLst>
              <a:ext uri="{FF2B5EF4-FFF2-40B4-BE49-F238E27FC236}">
                <a16:creationId xmlns:a16="http://schemas.microsoft.com/office/drawing/2014/main" id="{2850073F-B01E-43C8-845C-A725AAE5C1BA}"/>
              </a:ext>
            </a:extLst>
          </p:cNvPr>
          <p:cNvPicPr>
            <a:picLocks noChangeAspect="1"/>
          </p:cNvPicPr>
          <p:nvPr userDrawn="1"/>
        </p:nvPicPr>
        <p:blipFill>
          <a:blip r:embed="rId7"/>
          <a:stretch>
            <a:fillRect/>
          </a:stretch>
        </p:blipFill>
        <p:spPr>
          <a:xfrm>
            <a:off x="10168353" y="6438296"/>
            <a:ext cx="1894337" cy="382760"/>
          </a:xfrm>
          <a:prstGeom prst="rect">
            <a:avLst/>
          </a:prstGeom>
        </p:spPr>
      </p:pic>
      <p:sp>
        <p:nvSpPr>
          <p:cNvPr id="7"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CB486766-0DA7-4183-9E0C-E1B0E3733554}"/>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3776159605"/>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l" defTabSz="914400" rtl="0" eaLnBrk="1" latinLnBrk="0" hangingPunct="1">
        <a:lnSpc>
          <a:spcPct val="90000"/>
        </a:lnSpc>
        <a:spcBef>
          <a:spcPct val="0"/>
        </a:spcBef>
        <a:buNone/>
        <a:defRPr sz="4400" b="1" i="0" kern="1200">
          <a:solidFill>
            <a:srgbClr val="10069F"/>
          </a:solidFill>
          <a:latin typeface="+mj-lt"/>
          <a:ea typeface="Arial Black" panose="020B0604020202020204" pitchFamily="34" charset="0"/>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lumMod val="75000"/>
              <a:lumOff val="25000"/>
            </a:schemeClr>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lumMod val="75000"/>
              <a:lumOff val="25000"/>
            </a:schemeClr>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lumMod val="75000"/>
              <a:lumOff val="25000"/>
            </a:schemeClr>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lumMod val="75000"/>
              <a:lumOff val="25000"/>
            </a:schemeClr>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lumMod val="75000"/>
              <a:lumOff val="25000"/>
            </a:schemeClr>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10" name="Object 9"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4000" b="1" i="0" baseline="0" dirty="0">
              <a:latin typeface="Arial" panose="020B0604020202020204" pitchFamily="34" charset="0"/>
              <a:sym typeface="Arial" panose="020B0604020202020204" pitchFamily="34" charset="0"/>
            </a:endParaRPr>
          </a:p>
        </p:txBody>
      </p:sp>
      <p:sp>
        <p:nvSpPr>
          <p:cNvPr id="8" name="Retângulo 7"/>
          <p:cNvSpPr/>
          <p:nvPr userDrawn="1"/>
        </p:nvSpPr>
        <p:spPr>
          <a:xfrm>
            <a:off x="0" y="6311900"/>
            <a:ext cx="12192000" cy="561090"/>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0069F"/>
              </a:solidFill>
            </a:endParaRPr>
          </a:p>
        </p:txBody>
      </p:sp>
      <p:sp>
        <p:nvSpPr>
          <p:cNvPr id="2" name="Espaço Reservado para Título 1"/>
          <p:cNvSpPr>
            <a:spLocks noGrp="1"/>
          </p:cNvSpPr>
          <p:nvPr>
            <p:ph type="title"/>
          </p:nvPr>
        </p:nvSpPr>
        <p:spPr>
          <a:xfrm>
            <a:off x="180975" y="127000"/>
            <a:ext cx="11839576" cy="1325563"/>
          </a:xfrm>
          <a:prstGeom prst="rect">
            <a:avLst/>
          </a:prstGeom>
        </p:spPr>
        <p:txBody>
          <a:bodyPr vert="horz" lIns="91440" tIns="45720" rIns="91440" bIns="45720" rtlCol="0" anchor="t">
            <a:normAutofit/>
          </a:bodyPr>
          <a:lstStyle/>
          <a:p>
            <a:r>
              <a:rPr lang="pt-BR"/>
              <a:t>Clique para editar estilo do título mestre</a:t>
            </a: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2"/>
          </p:nvPr>
        </p:nvSpPr>
        <p:spPr>
          <a:xfrm>
            <a:off x="838200" y="6371340"/>
            <a:ext cx="2743200" cy="365125"/>
          </a:xfrm>
          <a:prstGeom prst="rect">
            <a:avLst/>
          </a:prstGeom>
        </p:spPr>
        <p:txBody>
          <a:bodyPr vert="horz" lIns="91440" tIns="45720" rIns="91440" bIns="45720" rtlCol="0" anchor="ctr"/>
          <a:lstStyle>
            <a:lvl1pPr algn="l">
              <a:defRPr sz="1200">
                <a:solidFill>
                  <a:schemeClr val="bg1"/>
                </a:solidFill>
                <a:latin typeface="Arial" charset="0"/>
                <a:ea typeface="Arial" charset="0"/>
                <a:cs typeface="Arial" charset="0"/>
              </a:defRPr>
            </a:lvl1pPr>
          </a:lstStyle>
          <a:p>
            <a:r>
              <a:rPr lang="pt-BR" dirty="0"/>
              <a:t>Nome da Apresentação</a:t>
            </a: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dirty="0"/>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658FEB-8FE9-CE45-8E51-A89F9932ED1F}" type="slidenum">
              <a:rPr lang="pt-BR" smtClean="0"/>
              <a:t>‹Nº›</a:t>
            </a:fld>
            <a:endParaRPr lang="pt-BR" dirty="0"/>
          </a:p>
        </p:txBody>
      </p:sp>
      <p:pic>
        <p:nvPicPr>
          <p:cNvPr id="9" name="Imagem 8"/>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976993" y="6311104"/>
            <a:ext cx="1763865" cy="552778"/>
          </a:xfrm>
          <a:prstGeom prst="rect">
            <a:avLst/>
          </a:prstGeom>
        </p:spPr>
      </p:pic>
      <p:pic>
        <p:nvPicPr>
          <p:cNvPr id="19" name="Picture 18"/>
          <p:cNvPicPr>
            <a:picLocks noChangeAspect="1"/>
          </p:cNvPicPr>
          <p:nvPr userDrawn="1"/>
        </p:nvPicPr>
        <p:blipFill>
          <a:blip r:embed="rId20"/>
          <a:stretch>
            <a:fillRect/>
          </a:stretch>
        </p:blipFill>
        <p:spPr>
          <a:xfrm>
            <a:off x="26212" y="6298064"/>
            <a:ext cx="2499145" cy="579037"/>
          </a:xfrm>
          <a:prstGeom prst="rect">
            <a:avLst/>
          </a:prstGeom>
        </p:spPr>
      </p:pic>
    </p:spTree>
    <p:extLst>
      <p:ext uri="{BB962C8B-B14F-4D97-AF65-F5344CB8AC3E}">
        <p14:creationId xmlns:p14="http://schemas.microsoft.com/office/powerpoint/2010/main" val="272952457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Lst>
  <p:txStyles>
    <p:titleStyle>
      <a:lvl1pPr algn="l" defTabSz="914400" rtl="0" eaLnBrk="1" latinLnBrk="0" hangingPunct="1">
        <a:lnSpc>
          <a:spcPct val="90000"/>
        </a:lnSpc>
        <a:spcBef>
          <a:spcPct val="0"/>
        </a:spcBef>
        <a:buNone/>
        <a:defRPr sz="4000" b="1" i="0" kern="1200">
          <a:solidFill>
            <a:srgbClr val="10069F"/>
          </a:solidFill>
          <a:latin typeface="+mj-lt"/>
          <a:ea typeface="Arial Black" panose="020B0604020202020204" pitchFamily="34" charset="0"/>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lumMod val="75000"/>
              <a:lumOff val="25000"/>
            </a:schemeClr>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lumMod val="75000"/>
              <a:lumOff val="25000"/>
            </a:schemeClr>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lumMod val="75000"/>
              <a:lumOff val="25000"/>
            </a:schemeClr>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lumMod val="75000"/>
              <a:lumOff val="25000"/>
            </a:schemeClr>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lumMod val="75000"/>
              <a:lumOff val="25000"/>
            </a:schemeClr>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diagramLayout" Target="../diagrams/layout1.xml"/><Relationship Id="rId7" Type="http://schemas.openxmlformats.org/officeDocument/2006/relationships/image" Target="../media/image8.png"/><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43.sv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diagramColors" Target="../diagrams/colors3.xml"/><Relationship Id="rId11" Type="http://schemas.openxmlformats.org/officeDocument/2006/relationships/image" Target="../media/image42.png"/><Relationship Id="rId5" Type="http://schemas.openxmlformats.org/officeDocument/2006/relationships/diagramQuickStyle" Target="../diagrams/quickStyle3.xml"/><Relationship Id="rId10" Type="http://schemas.openxmlformats.org/officeDocument/2006/relationships/image" Target="../media/image41.png"/><Relationship Id="rId4" Type="http://schemas.openxmlformats.org/officeDocument/2006/relationships/diagramLayout" Target="../diagrams/layout3.xml"/><Relationship Id="rId9"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0.png"/><Relationship Id="rId1" Type="http://schemas.openxmlformats.org/officeDocument/2006/relationships/slideLayout" Target="../slideLayouts/slideLayout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0.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texto 2">
            <a:extLst>
              <a:ext uri="{FF2B5EF4-FFF2-40B4-BE49-F238E27FC236}">
                <a16:creationId xmlns:a16="http://schemas.microsoft.com/office/drawing/2014/main" id="{EB1B145D-C6D0-7636-B993-3B67735A0205}"/>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28" name="Título 2">
            <a:extLst>
              <a:ext uri="{FF2B5EF4-FFF2-40B4-BE49-F238E27FC236}">
                <a16:creationId xmlns:a16="http://schemas.microsoft.com/office/drawing/2014/main" id="{1F8DDD3D-F18B-23CB-BD17-0E093682ED6F}"/>
              </a:ext>
            </a:extLst>
          </p:cNvPr>
          <p:cNvSpPr txBox="1">
            <a:spLocks/>
          </p:cNvSpPr>
          <p:nvPr/>
        </p:nvSpPr>
        <p:spPr>
          <a:xfrm>
            <a:off x="-1" y="13490"/>
            <a:ext cx="12068176"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Que incluye el Método </a:t>
            </a:r>
            <a:r>
              <a:rPr lang="es-ES" sz="4000" dirty="0">
                <a:solidFill>
                  <a:srgbClr val="FF3399"/>
                </a:solidFill>
                <a:latin typeface="Arial" panose="020B0604020202020204"/>
                <a:ea typeface="+mn-ea"/>
                <a:cs typeface="+mn-cs"/>
              </a:rPr>
              <a:t>L - FT </a:t>
            </a:r>
            <a:r>
              <a:rPr lang="es-ES" sz="2000" dirty="0">
                <a:solidFill>
                  <a:srgbClr val="FF3399"/>
                </a:solidFill>
                <a:latin typeface="Arial" panose="020B0604020202020204" pitchFamily="34" charset="0"/>
                <a:ea typeface="+mn-ea"/>
                <a:cs typeface="Arial" panose="020B0604020202020204" pitchFamily="34" charset="0"/>
              </a:rPr>
              <a:t>(Lead  a  </a:t>
            </a:r>
            <a:r>
              <a:rPr lang="es-ES" sz="2000" dirty="0" err="1">
                <a:solidFill>
                  <a:srgbClr val="FF3399"/>
                </a:solidFill>
                <a:latin typeface="Arial" panose="020B0604020202020204" pitchFamily="34" charset="0"/>
                <a:ea typeface="+mn-ea"/>
                <a:cs typeface="Arial" panose="020B0604020202020204" pitchFamily="34" charset="0"/>
              </a:rPr>
              <a:t>Fast</a:t>
            </a:r>
            <a:r>
              <a:rPr lang="es-ES" sz="2000" dirty="0">
                <a:solidFill>
                  <a:srgbClr val="FF3399"/>
                </a:solidFill>
                <a:latin typeface="Arial" panose="020B0604020202020204" pitchFamily="34" charset="0"/>
                <a:ea typeface="+mn-ea"/>
                <a:cs typeface="Arial" panose="020B0604020202020204" pitchFamily="34" charset="0"/>
              </a:rPr>
              <a:t>  </a:t>
            </a:r>
            <a:r>
              <a:rPr lang="es-ES" sz="2000" dirty="0" err="1">
                <a:solidFill>
                  <a:srgbClr val="FF3399"/>
                </a:solidFill>
                <a:latin typeface="Arial" panose="020B0604020202020204" pitchFamily="34" charset="0"/>
                <a:ea typeface="+mn-ea"/>
                <a:cs typeface="Arial" panose="020B0604020202020204" pitchFamily="34" charset="0"/>
              </a:rPr>
              <a:t>Transformation</a:t>
            </a:r>
            <a:r>
              <a:rPr lang="es-ES" sz="2000" dirty="0">
                <a:solidFill>
                  <a:srgbClr val="FF3399"/>
                </a:solidFill>
                <a:latin typeface="Arial" panose="020B0604020202020204" pitchFamily="34" charset="0"/>
                <a:ea typeface="+mn-ea"/>
                <a:cs typeface="Arial" panose="020B0604020202020204" pitchFamily="34" charset="0"/>
              </a:rPr>
              <a:t>) </a:t>
            </a:r>
          </a:p>
        </p:txBody>
      </p:sp>
      <p:sp>
        <p:nvSpPr>
          <p:cNvPr id="69" name="CuadroTexto 68">
            <a:extLst>
              <a:ext uri="{FF2B5EF4-FFF2-40B4-BE49-F238E27FC236}">
                <a16:creationId xmlns:a16="http://schemas.microsoft.com/office/drawing/2014/main" id="{0D07FC9A-B1CC-CA6C-EE39-221297A3EF03}"/>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a:ln>
                  <a:noFill/>
                </a:ln>
                <a:solidFill>
                  <a:srgbClr val="FFFFFF"/>
                </a:solidFill>
                <a:effectLst/>
                <a:uLnTx/>
                <a:uFillTx/>
                <a:latin typeface="Candara"/>
                <a:ea typeface="+mn-ea"/>
                <a:cs typeface="+mn-cs"/>
              </a:rPr>
              <a:t>Leading the transformation</a:t>
            </a:r>
          </a:p>
        </p:txBody>
      </p:sp>
      <p:sp>
        <p:nvSpPr>
          <p:cNvPr id="70" name="CuadroTexto 69">
            <a:extLst>
              <a:ext uri="{FF2B5EF4-FFF2-40B4-BE49-F238E27FC236}">
                <a16:creationId xmlns:a16="http://schemas.microsoft.com/office/drawing/2014/main" id="{43F6EEFE-02AC-9A96-3E9B-147A15E8CC1B}"/>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graphicFrame>
        <p:nvGraphicFramePr>
          <p:cNvPr id="14" name="Diagram 47">
            <a:extLst>
              <a:ext uri="{FF2B5EF4-FFF2-40B4-BE49-F238E27FC236}">
                <a16:creationId xmlns:a16="http://schemas.microsoft.com/office/drawing/2014/main" id="{984AA7F3-33F8-BBC2-9C32-E0220F1044DC}"/>
              </a:ext>
            </a:extLst>
          </p:cNvPr>
          <p:cNvGraphicFramePr/>
          <p:nvPr>
            <p:extLst>
              <p:ext uri="{D42A27DB-BD31-4B8C-83A1-F6EECF244321}">
                <p14:modId xmlns:p14="http://schemas.microsoft.com/office/powerpoint/2010/main" val="3828798594"/>
              </p:ext>
            </p:extLst>
          </p:nvPr>
        </p:nvGraphicFramePr>
        <p:xfrm>
          <a:off x="984101" y="1745359"/>
          <a:ext cx="5978674" cy="37341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5" name="Cuerda 24">
            <a:extLst>
              <a:ext uri="{FF2B5EF4-FFF2-40B4-BE49-F238E27FC236}">
                <a16:creationId xmlns:a16="http://schemas.microsoft.com/office/drawing/2014/main" id="{62B5F1CF-EC88-BE9C-4170-D3DF519D0AEA}"/>
              </a:ext>
            </a:extLst>
          </p:cNvPr>
          <p:cNvSpPr/>
          <p:nvPr/>
        </p:nvSpPr>
        <p:spPr>
          <a:xfrm rot="11654822">
            <a:off x="-740729" y="1973021"/>
            <a:ext cx="2234586" cy="3076352"/>
          </a:xfrm>
          <a:prstGeom prst="chord">
            <a:avLst/>
          </a:prstGeom>
          <a:solidFill>
            <a:srgbClr val="10069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 name="Gráfico 25" descr="Cerebro en la cabeza con relleno sólido">
            <a:extLst>
              <a:ext uri="{FF2B5EF4-FFF2-40B4-BE49-F238E27FC236}">
                <a16:creationId xmlns:a16="http://schemas.microsoft.com/office/drawing/2014/main" id="{460FCFB0-2C43-8EBF-68E1-F614771B387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1025778">
            <a:off x="164860" y="2691085"/>
            <a:ext cx="1184638" cy="1184638"/>
          </a:xfrm>
          <a:prstGeom prst="rect">
            <a:avLst/>
          </a:prstGeom>
        </p:spPr>
      </p:pic>
      <p:sp>
        <p:nvSpPr>
          <p:cNvPr id="27" name="Rectángulo: esquinas redondeadas 26">
            <a:extLst>
              <a:ext uri="{FF2B5EF4-FFF2-40B4-BE49-F238E27FC236}">
                <a16:creationId xmlns:a16="http://schemas.microsoft.com/office/drawing/2014/main" id="{068901DC-D7B3-16C0-086D-1DE3FBF5E470}"/>
              </a:ext>
            </a:extLst>
          </p:cNvPr>
          <p:cNvSpPr/>
          <p:nvPr/>
        </p:nvSpPr>
        <p:spPr>
          <a:xfrm>
            <a:off x="8007928" y="2531240"/>
            <a:ext cx="4246804" cy="2162347"/>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2800" b="1" u="sng" dirty="0">
                <a:solidFill>
                  <a:srgbClr val="10069F"/>
                </a:solidFill>
                <a:latin typeface="-apple-system"/>
              </a:rPr>
              <a:t>Programa propuesto</a:t>
            </a:r>
          </a:p>
          <a:p>
            <a:pPr marL="457200" indent="-457200">
              <a:buFont typeface="Wingdings" panose="05000000000000000000" pitchFamily="2" charset="2"/>
              <a:buChar char="ü"/>
            </a:pPr>
            <a:r>
              <a:rPr lang="es-ES" sz="2400" b="1" dirty="0">
                <a:solidFill>
                  <a:srgbClr val="10069F"/>
                </a:solidFill>
                <a:latin typeface="-apple-system"/>
              </a:rPr>
              <a:t>5 Módulos on-line  </a:t>
            </a:r>
          </a:p>
          <a:p>
            <a:pPr marL="457200" indent="-457200">
              <a:buFont typeface="Wingdings" panose="05000000000000000000" pitchFamily="2" charset="2"/>
              <a:buChar char="ü"/>
            </a:pPr>
            <a:r>
              <a:rPr lang="es-ES" sz="2400" b="1" dirty="0">
                <a:solidFill>
                  <a:srgbClr val="10069F"/>
                </a:solidFill>
                <a:latin typeface="-apple-system"/>
              </a:rPr>
              <a:t>2 Sesiones personalizadas</a:t>
            </a:r>
            <a:endParaRPr lang="es-AR" sz="2400" b="1" dirty="0">
              <a:solidFill>
                <a:srgbClr val="10069F"/>
              </a:solidFill>
            </a:endParaRPr>
          </a:p>
        </p:txBody>
      </p:sp>
      <p:sp>
        <p:nvSpPr>
          <p:cNvPr id="29" name="Flecha: a la derecha 28">
            <a:extLst>
              <a:ext uri="{FF2B5EF4-FFF2-40B4-BE49-F238E27FC236}">
                <a16:creationId xmlns:a16="http://schemas.microsoft.com/office/drawing/2014/main" id="{3D74617B-7644-E60E-4355-DFCC8B099C23}"/>
              </a:ext>
            </a:extLst>
          </p:cNvPr>
          <p:cNvSpPr/>
          <p:nvPr/>
        </p:nvSpPr>
        <p:spPr>
          <a:xfrm>
            <a:off x="6962775" y="2723919"/>
            <a:ext cx="1035586" cy="1410159"/>
          </a:xfrm>
          <a:prstGeom prst="rightArrow">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10976092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Marcador de contenido 3">
            <a:extLst>
              <a:ext uri="{FF2B5EF4-FFF2-40B4-BE49-F238E27FC236}">
                <a16:creationId xmlns:a16="http://schemas.microsoft.com/office/drawing/2014/main" id="{E2DE819F-8838-EE91-2689-38C630CDFEF8}"/>
              </a:ext>
            </a:extLst>
          </p:cNvPr>
          <p:cNvSpPr txBox="1">
            <a:spLocks/>
          </p:cNvSpPr>
          <p:nvPr/>
        </p:nvSpPr>
        <p:spPr>
          <a:xfrm>
            <a:off x="5223193" y="-666749"/>
            <a:ext cx="6584314" cy="7800974"/>
          </a:xfrm>
          <a:prstGeom prst="rect">
            <a:avLst/>
          </a:prstGeom>
        </p:spPr>
        <p:txBody>
          <a:bodyPr vert="horz" lIns="0" tIns="0" rIns="0" bIns="0" rtlCol="0" anchor="b">
            <a:noAutofit/>
          </a:bodyPr>
          <a:lst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2800" b="1" i="0" u="none" strike="noStrike" kern="1200" cap="none" spc="0" normalizeH="0" baseline="0" noProof="0" dirty="0">
              <a:ln>
                <a:noFill/>
              </a:ln>
              <a:solidFill>
                <a:sysClr val="windowText" lastClr="000000">
                  <a:lumMod val="75000"/>
                  <a:lumOff val="25000"/>
                </a:sysClr>
              </a:solidFill>
              <a:effectLst/>
              <a:uLnTx/>
              <a:uFillTx/>
              <a:latin typeface="Candara"/>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sz="2800" b="1" dirty="0">
              <a:solidFill>
                <a:sysClr val="windowText" lastClr="000000">
                  <a:lumMod val="75000"/>
                  <a:lumOff val="25000"/>
                </a:sysClr>
              </a:solidFill>
              <a:latin typeface="Candara"/>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2800" b="1" i="0" u="none" strike="noStrike" kern="1200" cap="none" spc="0" normalizeH="0" baseline="0" noProof="0" dirty="0">
              <a:ln>
                <a:noFill/>
              </a:ln>
              <a:solidFill>
                <a:sysClr val="windowText" lastClr="000000">
                  <a:lumMod val="75000"/>
                  <a:lumOff val="25000"/>
                </a:sysClr>
              </a:solidFill>
              <a:effectLst/>
              <a:uLnTx/>
              <a:uFillTx/>
              <a:latin typeface="Candara"/>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sz="2800" b="1" dirty="0">
              <a:solidFill>
                <a:sysClr val="windowText" lastClr="000000">
                  <a:lumMod val="75000"/>
                  <a:lumOff val="25000"/>
                </a:sysClr>
              </a:solidFill>
              <a:latin typeface="Candara"/>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2800" i="1" u="none" strike="noStrike" kern="1200" cap="none" spc="0" normalizeH="0" baseline="0" noProof="0" dirty="0">
                <a:ln>
                  <a:noFill/>
                </a:ln>
                <a:solidFill>
                  <a:sysClr val="windowText" lastClr="000000">
                    <a:lumMod val="75000"/>
                    <a:lumOff val="25000"/>
                  </a:sysClr>
                </a:solidFill>
                <a:effectLst/>
                <a:uLnTx/>
                <a:uFillTx/>
                <a:latin typeface="Candara"/>
                <a:ea typeface="+mn-ea"/>
                <a:cs typeface="+mn-cs"/>
              </a:rPr>
              <a:t>Programa Liderazgo Avanzad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2800" b="1" i="0" u="none" strike="noStrike" kern="1200" cap="none" spc="0" normalizeH="0" baseline="0" noProof="0" dirty="0">
                <a:ln>
                  <a:noFill/>
                </a:ln>
                <a:solidFill>
                  <a:sysClr val="windowText" lastClr="000000">
                    <a:lumMod val="75000"/>
                    <a:lumOff val="25000"/>
                  </a:sysClr>
                </a:solidFill>
                <a:effectLst/>
                <a:uLnTx/>
                <a:uFillTx/>
                <a:latin typeface="Candara"/>
                <a:ea typeface="+mn-ea"/>
                <a:cs typeface="+mn-cs"/>
              </a:rPr>
              <a:t>Método AL</a:t>
            </a:r>
          </a:p>
          <a:p>
            <a:pPr marL="0" marR="0" lvl="0" indent="0" algn="l" defTabSz="914400" rtl="0" eaLnBrk="1" fontAlgn="auto" latinLnBrk="0" hangingPunct="1">
              <a:lnSpc>
                <a:spcPct val="90000"/>
              </a:lnSpc>
              <a:spcBef>
                <a:spcPts val="1000"/>
              </a:spcBef>
              <a:spcAft>
                <a:spcPts val="0"/>
              </a:spcAft>
              <a:buClrTx/>
              <a:buSzTx/>
              <a:buNone/>
              <a:tabLst/>
              <a:defRPr/>
            </a:pPr>
            <a:r>
              <a:rPr lang="es-ES" sz="1600" dirty="0">
                <a:solidFill>
                  <a:sysClr val="windowText" lastClr="000000">
                    <a:lumMod val="75000"/>
                    <a:lumOff val="25000"/>
                  </a:sysClr>
                </a:solidFill>
              </a:rPr>
              <a:t>Si tu experiencia como líder es amplia, este Programa te permitirá replantearte tu forma de Liderar actual, encontrando alternativas que te permitirán elegir diferentes enfoques para influenciar a los Equipos que tengas a cargo.</a:t>
            </a:r>
            <a:endParaRPr lang="es-ES" sz="1600" dirty="0">
              <a:solidFill>
                <a:sysClr val="windowText" lastClr="000000">
                  <a:lumMod val="75000"/>
                  <a:lumOff val="25000"/>
                </a:sysClr>
              </a:solidFill>
              <a:latin typeface="-apple-system"/>
            </a:endParaRPr>
          </a:p>
          <a:p>
            <a:pPr marL="0" marR="0" lvl="0" indent="0" algn="l" defTabSz="914400" rtl="0" eaLnBrk="1" fontAlgn="auto" latinLnBrk="0" hangingPunct="1">
              <a:lnSpc>
                <a:spcPct val="90000"/>
              </a:lnSpc>
              <a:spcBef>
                <a:spcPts val="1000"/>
              </a:spcBef>
              <a:spcAft>
                <a:spcPts val="0"/>
              </a:spcAft>
              <a:buClrTx/>
              <a:buSzTx/>
              <a:buNone/>
              <a:tabLst/>
              <a:defRPr/>
            </a:pPr>
            <a:r>
              <a:rPr lang="es-ES" b="1" i="0" dirty="0">
                <a:solidFill>
                  <a:srgbClr val="0000CC"/>
                </a:solidFill>
                <a:effectLst/>
                <a:latin typeface="-apple-system"/>
              </a:rPr>
              <a:t>Mi Propósito es ayudar y acompañar a Lideres Exitosos a desarrollar habilidades estratégicas para el manejo de sus Equipos en esta era de cambios e incertidumbre en el mundo actual</a:t>
            </a:r>
          </a:p>
          <a:p>
            <a:pPr marL="0" marR="0" lvl="0" indent="0" algn="l" defTabSz="914400" rtl="0" eaLnBrk="1" fontAlgn="auto" latinLnBrk="0" hangingPunct="1">
              <a:lnSpc>
                <a:spcPct val="90000"/>
              </a:lnSpc>
              <a:spcBef>
                <a:spcPts val="1000"/>
              </a:spcBef>
              <a:spcAft>
                <a:spcPts val="0"/>
              </a:spcAft>
              <a:buClrTx/>
              <a:buSzTx/>
              <a:buNone/>
              <a:tabLst/>
              <a:defRPr/>
            </a:pPr>
            <a:r>
              <a:rPr lang="es-ES" sz="1600" b="1" dirty="0">
                <a:latin typeface="-apple-system"/>
              </a:rPr>
              <a:t>A través del Método AL (</a:t>
            </a:r>
            <a:r>
              <a:rPr lang="es-ES" sz="1600" b="1" dirty="0" err="1">
                <a:latin typeface="-apple-system"/>
              </a:rPr>
              <a:t>Advance</a:t>
            </a:r>
            <a:r>
              <a:rPr lang="es-ES" sz="1600" b="1" dirty="0">
                <a:latin typeface="-apple-system"/>
              </a:rPr>
              <a:t> </a:t>
            </a:r>
            <a:r>
              <a:rPr lang="es-ES" sz="1600" b="1" dirty="0" err="1">
                <a:latin typeface="-apple-system"/>
              </a:rPr>
              <a:t>Leading</a:t>
            </a:r>
            <a:r>
              <a:rPr lang="es-ES" sz="1600" b="1" dirty="0">
                <a:latin typeface="-apple-system"/>
              </a:rPr>
              <a:t>/Liderazgo Avanzado) te ayudare a descubrir las distintas facetas que puede adoptar un Líder, según el </a:t>
            </a:r>
            <a:r>
              <a:rPr lang="es-ES" sz="1600" b="1" dirty="0" err="1">
                <a:latin typeface="-apple-system"/>
              </a:rPr>
              <a:t>projecto</a:t>
            </a:r>
            <a:r>
              <a:rPr lang="es-ES" sz="1600" b="1" dirty="0">
                <a:latin typeface="-apple-system"/>
              </a:rPr>
              <a:t> que se encare, o según el nivel de madurez de sus equipos. Estos diferentes modelos de influencia podrán ser adoptados por vos, para alcanzar los resultados propuestos. </a:t>
            </a:r>
          </a:p>
          <a:p>
            <a:pPr marL="0" marR="0" lvl="0" indent="0" algn="l" defTabSz="914400" rtl="0" eaLnBrk="1" fontAlgn="auto" latinLnBrk="0" hangingPunct="1">
              <a:lnSpc>
                <a:spcPct val="90000"/>
              </a:lnSpc>
              <a:spcBef>
                <a:spcPts val="1000"/>
              </a:spcBef>
              <a:spcAft>
                <a:spcPts val="0"/>
              </a:spcAft>
              <a:buClrTx/>
              <a:buSzTx/>
              <a:buNone/>
              <a:tabLst/>
              <a:defRPr/>
            </a:pPr>
            <a:r>
              <a:rPr lang="es-ES" sz="1600" b="1" dirty="0">
                <a:latin typeface="-apple-system"/>
              </a:rPr>
              <a:t>Vamos a trabajar juntos:</a:t>
            </a:r>
          </a:p>
          <a:p>
            <a:pPr marL="266700" marR="0" lvl="0" indent="-2667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sz="1600" dirty="0">
                <a:latin typeface="-apple-system"/>
              </a:rPr>
              <a:t>Como </a:t>
            </a:r>
            <a:r>
              <a:rPr lang="es-ES" sz="1600" b="1" dirty="0">
                <a:latin typeface="-apple-system"/>
              </a:rPr>
              <a:t>influencia a tu Equipo</a:t>
            </a:r>
            <a:r>
              <a:rPr lang="es-ES" sz="1600" dirty="0">
                <a:latin typeface="-apple-system"/>
              </a:rPr>
              <a:t>, según el momento o proyecto que estén persiguiendo.</a:t>
            </a:r>
          </a:p>
          <a:p>
            <a:pPr marL="266700" marR="0" lvl="0" indent="-2667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sz="1600" dirty="0">
                <a:latin typeface="-apple-system"/>
              </a:rPr>
              <a:t>Las ventajas de </a:t>
            </a:r>
            <a:r>
              <a:rPr lang="es-ES" sz="1600" b="1" dirty="0">
                <a:latin typeface="-apple-system"/>
              </a:rPr>
              <a:t>adoptar diferentes modelos de liderazgo </a:t>
            </a:r>
            <a:r>
              <a:rPr lang="es-ES" sz="1600" dirty="0">
                <a:latin typeface="-apple-system"/>
              </a:rPr>
              <a:t>según las circunstancias y el entorno.</a:t>
            </a:r>
          </a:p>
          <a:p>
            <a:pPr marL="266700" marR="0" lvl="0" indent="-2667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sz="1600" dirty="0">
                <a:latin typeface="-apple-system"/>
              </a:rPr>
              <a:t>XXX</a:t>
            </a:r>
          </a:p>
          <a:p>
            <a:pPr marL="266700" marR="0" lvl="0" indent="-2667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sz="1600" dirty="0" err="1">
                <a:latin typeface="-apple-system"/>
              </a:rPr>
              <a:t>XXXXComo</a:t>
            </a:r>
            <a:r>
              <a:rPr lang="es-ES" sz="1600" dirty="0">
                <a:latin typeface="-apple-system"/>
              </a:rPr>
              <a:t> </a:t>
            </a:r>
          </a:p>
          <a:p>
            <a:pPr marL="0" marR="0" lvl="0" indent="0" algn="l" defTabSz="914400" rtl="0" eaLnBrk="1" fontAlgn="auto" latinLnBrk="0" hangingPunct="1">
              <a:lnSpc>
                <a:spcPct val="90000"/>
              </a:lnSpc>
              <a:spcBef>
                <a:spcPts val="1000"/>
              </a:spcBef>
              <a:spcAft>
                <a:spcPts val="0"/>
              </a:spcAft>
              <a:buClrTx/>
              <a:buSzTx/>
              <a:buNone/>
              <a:tabLst/>
              <a:defRPr/>
            </a:pPr>
            <a:r>
              <a:rPr lang="es-ES" sz="1400" dirty="0">
                <a:latin typeface="72 Black" panose="020B0A04030603020204" pitchFamily="34" charset="0"/>
                <a:cs typeface="72 Black" panose="020B0A04030603020204" pitchFamily="34" charset="0"/>
              </a:rPr>
              <a:t>En menos de XX meses podrás desarrollar habilidades solidas como Líder,  que te permitan influenciar de manera exitosas a tus Equipos de trabajo según los Proyectos y entornos que se presenten</a:t>
            </a:r>
          </a:p>
          <a:p>
            <a:pPr marL="0" marR="0" lvl="0" indent="0" algn="l" defTabSz="914400" rtl="0" eaLnBrk="1" fontAlgn="auto" latinLnBrk="0" hangingPunct="1">
              <a:lnSpc>
                <a:spcPct val="90000"/>
              </a:lnSpc>
              <a:spcBef>
                <a:spcPts val="1000"/>
              </a:spcBef>
              <a:spcAft>
                <a:spcPts val="0"/>
              </a:spcAft>
              <a:buClrTx/>
              <a:buSzTx/>
              <a:buNone/>
              <a:tabLst/>
              <a:defRPr/>
            </a:pPr>
            <a:endParaRPr lang="es-ES" sz="1600" dirty="0">
              <a:latin typeface="72 Black" panose="020B0A04030603020204" pitchFamily="34" charset="0"/>
              <a:cs typeface="72 Black" panose="020B0A04030603020204" pitchFamily="34" charset="0"/>
            </a:endParaRPr>
          </a:p>
        </p:txBody>
      </p:sp>
      <p:sp>
        <p:nvSpPr>
          <p:cNvPr id="2" name="CuadroTexto 1">
            <a:extLst>
              <a:ext uri="{FF2B5EF4-FFF2-40B4-BE49-F238E27FC236}">
                <a16:creationId xmlns:a16="http://schemas.microsoft.com/office/drawing/2014/main" id="{1551288E-4827-3FF2-C48D-00D2D1177FC3}"/>
              </a:ext>
            </a:extLst>
          </p:cNvPr>
          <p:cNvSpPr txBox="1"/>
          <p:nvPr/>
        </p:nvSpPr>
        <p:spPr>
          <a:xfrm>
            <a:off x="-123568" y="6327209"/>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6" name="Marcador de texto 2">
            <a:extLst>
              <a:ext uri="{FF2B5EF4-FFF2-40B4-BE49-F238E27FC236}">
                <a16:creationId xmlns:a16="http://schemas.microsoft.com/office/drawing/2014/main" id="{E32411BE-2DAA-DBF4-E8F0-F7732CD2BEEE}"/>
              </a:ext>
            </a:extLst>
          </p:cNvPr>
          <p:cNvSpPr txBox="1">
            <a:spLocks/>
          </p:cNvSpPr>
          <p:nvPr/>
        </p:nvSpPr>
        <p:spPr>
          <a:xfrm>
            <a:off x="0" y="0"/>
            <a:ext cx="4911099" cy="4766164"/>
          </a:xfrm>
          <a:prstGeom prst="rect">
            <a:avLst/>
          </a:prstGeom>
          <a:solidFill>
            <a:srgbClr val="0000CC">
              <a:alpha val="80000"/>
            </a:srgbClr>
          </a:solidFill>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b="0" i="1" u="none" strike="noStrike" kern="1200" cap="none" spc="0" normalizeH="0" baseline="0" noProof="0" dirty="0">
              <a:ln>
                <a:noFill/>
              </a:ln>
              <a:solidFill>
                <a:srgbClr val="FFFFFF"/>
              </a:solidFill>
              <a:effectLst/>
              <a:uLnTx/>
              <a:uFillTx/>
              <a:latin typeface="Candara"/>
              <a:ea typeface="+mn-ea"/>
              <a:cs typeface="+mn-cs"/>
            </a:endParaRPr>
          </a:p>
        </p:txBody>
      </p:sp>
      <p:pic>
        <p:nvPicPr>
          <p:cNvPr id="7" name="Imagen 6">
            <a:extLst>
              <a:ext uri="{FF2B5EF4-FFF2-40B4-BE49-F238E27FC236}">
                <a16:creationId xmlns:a16="http://schemas.microsoft.com/office/drawing/2014/main" id="{150FEA0B-CE7E-FD6E-30EF-4561AFDF6785}"/>
              </a:ext>
            </a:extLst>
          </p:cNvPr>
          <p:cNvPicPr>
            <a:picLocks noChangeAspect="1"/>
          </p:cNvPicPr>
          <p:nvPr/>
        </p:nvPicPr>
        <p:blipFill>
          <a:blip r:embed="rId2"/>
          <a:stretch>
            <a:fillRect/>
          </a:stretch>
        </p:blipFill>
        <p:spPr>
          <a:xfrm>
            <a:off x="579017" y="195649"/>
            <a:ext cx="3753064" cy="4304407"/>
          </a:xfrm>
          <a:prstGeom prst="rect">
            <a:avLst/>
          </a:prstGeom>
        </p:spPr>
      </p:pic>
      <p:sp>
        <p:nvSpPr>
          <p:cNvPr id="8" name="Rectángulo 7" descr="Bloque de énfasis">
            <a:extLst>
              <a:ext uri="{FF2B5EF4-FFF2-40B4-BE49-F238E27FC236}">
                <a16:creationId xmlns:a16="http://schemas.microsoft.com/office/drawing/2014/main" id="{7136AC0E-5D77-6DAB-8742-2D60F0B81AD0}"/>
              </a:ext>
              <a:ext uri="{C183D7F6-B498-43B3-948B-1728B52AA6E4}">
                <adec:decorative xmlns:adec="http://schemas.microsoft.com/office/drawing/2017/decorative" val="1"/>
              </a:ext>
            </a:extLst>
          </p:cNvPr>
          <p:cNvSpPr/>
          <p:nvPr/>
        </p:nvSpPr>
        <p:spPr>
          <a:xfrm>
            <a:off x="2236789" y="4649076"/>
            <a:ext cx="2547800" cy="109521"/>
          </a:xfrm>
          <a:prstGeom prst="rect">
            <a:avLst/>
          </a:prstGeom>
          <a:solidFill>
            <a:srgbClr val="25C6E3"/>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FFFFFF"/>
              </a:solidFill>
              <a:effectLst/>
              <a:uLnTx/>
              <a:uFillTx/>
              <a:latin typeface="Candara"/>
              <a:ea typeface="+mn-ea"/>
              <a:cs typeface="+mn-cs"/>
            </a:endParaRPr>
          </a:p>
        </p:txBody>
      </p:sp>
      <p:sp>
        <p:nvSpPr>
          <p:cNvPr id="9" name="Título 1">
            <a:extLst>
              <a:ext uri="{FF2B5EF4-FFF2-40B4-BE49-F238E27FC236}">
                <a16:creationId xmlns:a16="http://schemas.microsoft.com/office/drawing/2014/main" id="{7743B79F-167C-049D-B0AD-CB478FFF1A47}"/>
              </a:ext>
            </a:extLst>
          </p:cNvPr>
          <p:cNvSpPr txBox="1">
            <a:spLocks/>
          </p:cNvSpPr>
          <p:nvPr/>
        </p:nvSpPr>
        <p:spPr>
          <a:xfrm>
            <a:off x="1502797" y="4763900"/>
            <a:ext cx="3408302" cy="939510"/>
          </a:xfrm>
          <a:prstGeom prst="rect">
            <a:avLst/>
          </a:prstGeom>
          <a:solidFill>
            <a:srgbClr val="FFFFFF"/>
          </a:solidFill>
        </p:spPr>
        <p:txBody>
          <a:bodyPr vert="horz" lIns="180000" tIns="180000" rIns="180000" bIns="180000" rtlCol="0" anchor="ctr">
            <a:noAutofit/>
          </a:bodyPr>
          <a:lstStyle>
            <a:lvl1pPr algn="r" defTabSz="914400" rtl="0" eaLnBrk="1" latinLnBrk="0" hangingPunct="1">
              <a:lnSpc>
                <a:spcPct val="70000"/>
              </a:lnSpc>
              <a:spcBef>
                <a:spcPct val="0"/>
              </a:spcBef>
              <a:buNone/>
              <a:defRPr sz="3800" b="1" kern="1200" spc="-30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s-ES" sz="3600" b="1" i="0" u="none" strike="noStrike" kern="1200" cap="none" spc="-300" normalizeH="0" baseline="0" noProof="0" dirty="0">
                <a:ln>
                  <a:noFill/>
                </a:ln>
                <a:solidFill>
                  <a:srgbClr val="0000CC"/>
                </a:solidFill>
                <a:effectLst/>
                <a:uLnTx/>
                <a:uFillTx/>
                <a:latin typeface="Corbel"/>
                <a:ea typeface="+mj-ea"/>
                <a:cs typeface="+mj-cs"/>
              </a:rPr>
              <a:t>Liderazgo</a:t>
            </a:r>
          </a:p>
          <a:p>
            <a:pPr marL="0" marR="0" lvl="0" indent="0" algn="l" defTabSz="914400" rtl="0" eaLnBrk="1" fontAlgn="auto" latinLnBrk="0" hangingPunct="1">
              <a:lnSpc>
                <a:spcPct val="70000"/>
              </a:lnSpc>
              <a:spcBef>
                <a:spcPct val="0"/>
              </a:spcBef>
              <a:spcAft>
                <a:spcPts val="0"/>
              </a:spcAft>
              <a:buClrTx/>
              <a:buSzTx/>
              <a:buFontTx/>
              <a:buNone/>
              <a:tabLst/>
              <a:defRPr/>
            </a:pPr>
            <a:r>
              <a:rPr kumimoji="0" lang="es-ES" sz="3600" b="1" i="0" u="none" strike="noStrike" kern="1200" cap="none" spc="-300" normalizeH="0" baseline="0" noProof="0" dirty="0">
                <a:ln>
                  <a:noFill/>
                </a:ln>
                <a:solidFill>
                  <a:srgbClr val="0000CC"/>
                </a:solidFill>
                <a:effectLst/>
                <a:uLnTx/>
                <a:uFillTx/>
                <a:latin typeface="Corbel"/>
                <a:ea typeface="+mj-ea"/>
                <a:cs typeface="+mj-cs"/>
              </a:rPr>
              <a:t>	Avanzado</a:t>
            </a:r>
          </a:p>
        </p:txBody>
      </p:sp>
      <p:sp>
        <p:nvSpPr>
          <p:cNvPr id="10" name="Marcador de texto 2">
            <a:extLst>
              <a:ext uri="{FF2B5EF4-FFF2-40B4-BE49-F238E27FC236}">
                <a16:creationId xmlns:a16="http://schemas.microsoft.com/office/drawing/2014/main" id="{CF8A9DD5-542C-1F3C-5326-106319E0E5D9}"/>
              </a:ext>
            </a:extLst>
          </p:cNvPr>
          <p:cNvSpPr txBox="1">
            <a:spLocks/>
          </p:cNvSpPr>
          <p:nvPr/>
        </p:nvSpPr>
        <p:spPr>
          <a:xfrm>
            <a:off x="0" y="5748901"/>
            <a:ext cx="4911099" cy="1109098"/>
          </a:xfrm>
          <a:prstGeom prst="rect">
            <a:avLst/>
          </a:prstGeom>
          <a:solidFill>
            <a:srgbClr val="0000CC">
              <a:alpha val="80000"/>
            </a:srgbClr>
          </a:solidFill>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b="0" i="1" u="none" strike="noStrike" kern="1200" cap="none" spc="0" normalizeH="0" baseline="0" noProof="0" dirty="0">
                <a:ln>
                  <a:noFill/>
                </a:ln>
                <a:solidFill>
                  <a:srgbClr val="FFFFFF"/>
                </a:solidFill>
                <a:effectLst/>
                <a:uLnTx/>
                <a:uFillTx/>
                <a:latin typeface="Candara"/>
                <a:ea typeface="+mn-ea"/>
                <a:cs typeface="+mn-cs"/>
              </a:rPr>
              <a:t>Ser Líder implica replantearse diferentes modelos de Liderazgo que te permitan influenciar según las circunstancias del entorno y necesidades de proyectos</a:t>
            </a:r>
          </a:p>
        </p:txBody>
      </p:sp>
      <p:sp>
        <p:nvSpPr>
          <p:cNvPr id="15" name="Título 1">
            <a:extLst>
              <a:ext uri="{FF2B5EF4-FFF2-40B4-BE49-F238E27FC236}">
                <a16:creationId xmlns:a16="http://schemas.microsoft.com/office/drawing/2014/main" id="{119C64BF-75F8-623F-202C-1D3985011A27}"/>
              </a:ext>
            </a:extLst>
          </p:cNvPr>
          <p:cNvSpPr txBox="1">
            <a:spLocks/>
          </p:cNvSpPr>
          <p:nvPr/>
        </p:nvSpPr>
        <p:spPr>
          <a:xfrm>
            <a:off x="0" y="4766164"/>
            <a:ext cx="1574358" cy="939510"/>
          </a:xfrm>
          <a:prstGeom prst="rect">
            <a:avLst/>
          </a:prstGeom>
          <a:solidFill>
            <a:srgbClr val="FFFFFF"/>
          </a:solidFill>
        </p:spPr>
        <p:txBody>
          <a:bodyPr vert="horz" lIns="180000" tIns="180000" rIns="180000" bIns="180000" rtlCol="0" anchor="ctr">
            <a:noAutofit/>
          </a:bodyPr>
          <a:lstStyle>
            <a:lvl1pPr algn="r" defTabSz="914400" rtl="0" eaLnBrk="1" latinLnBrk="0" hangingPunct="1">
              <a:lnSpc>
                <a:spcPct val="70000"/>
              </a:lnSpc>
              <a:spcBef>
                <a:spcPct val="0"/>
              </a:spcBef>
              <a:buNone/>
              <a:defRPr sz="3800" b="1" kern="1200" spc="-30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lang="es-ES" sz="1800" i="1" spc="0" dirty="0">
                <a:solidFill>
                  <a:schemeClr val="tx1"/>
                </a:solidFill>
                <a:latin typeface="Candara"/>
                <a:ea typeface="+mn-ea"/>
                <a:cs typeface="+mn-cs"/>
              </a:rPr>
              <a:t>PROGRAMA</a:t>
            </a:r>
          </a:p>
        </p:txBody>
      </p:sp>
    </p:spTree>
    <p:extLst>
      <p:ext uri="{BB962C8B-B14F-4D97-AF65-F5344CB8AC3E}">
        <p14:creationId xmlns:p14="http://schemas.microsoft.com/office/powerpoint/2010/main" val="12366276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Frases de John Maxwell</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pic>
        <p:nvPicPr>
          <p:cNvPr id="4" name="Imagen 3">
            <a:extLst>
              <a:ext uri="{FF2B5EF4-FFF2-40B4-BE49-F238E27FC236}">
                <a16:creationId xmlns:a16="http://schemas.microsoft.com/office/drawing/2014/main" id="{AE9161F6-37BC-BF74-9833-EA4A1A972C8F}"/>
              </a:ext>
            </a:extLst>
          </p:cNvPr>
          <p:cNvPicPr>
            <a:picLocks noChangeAspect="1"/>
          </p:cNvPicPr>
          <p:nvPr/>
        </p:nvPicPr>
        <p:blipFill>
          <a:blip r:embed="rId3"/>
          <a:stretch>
            <a:fillRect/>
          </a:stretch>
        </p:blipFill>
        <p:spPr>
          <a:xfrm>
            <a:off x="5048170" y="1387497"/>
            <a:ext cx="7000956" cy="2376602"/>
          </a:xfrm>
          <a:prstGeom prst="rect">
            <a:avLst/>
          </a:prstGeom>
        </p:spPr>
      </p:pic>
      <p:pic>
        <p:nvPicPr>
          <p:cNvPr id="6" name="Imagen 5">
            <a:extLst>
              <a:ext uri="{FF2B5EF4-FFF2-40B4-BE49-F238E27FC236}">
                <a16:creationId xmlns:a16="http://schemas.microsoft.com/office/drawing/2014/main" id="{D0FBAF05-6A30-DD51-A29C-3B9AB4DC8B04}"/>
              </a:ext>
            </a:extLst>
          </p:cNvPr>
          <p:cNvPicPr>
            <a:picLocks noChangeAspect="1"/>
          </p:cNvPicPr>
          <p:nvPr/>
        </p:nvPicPr>
        <p:blipFill>
          <a:blip r:embed="rId4"/>
          <a:stretch>
            <a:fillRect/>
          </a:stretch>
        </p:blipFill>
        <p:spPr>
          <a:xfrm>
            <a:off x="299042" y="2351191"/>
            <a:ext cx="4889554" cy="3001074"/>
          </a:xfrm>
          <a:prstGeom prst="rect">
            <a:avLst/>
          </a:prstGeom>
        </p:spPr>
      </p:pic>
      <p:pic>
        <p:nvPicPr>
          <p:cNvPr id="8" name="Imagen 7">
            <a:extLst>
              <a:ext uri="{FF2B5EF4-FFF2-40B4-BE49-F238E27FC236}">
                <a16:creationId xmlns:a16="http://schemas.microsoft.com/office/drawing/2014/main" id="{8829ABC0-6421-4EB7-F9B6-D694916B346B}"/>
              </a:ext>
            </a:extLst>
          </p:cNvPr>
          <p:cNvPicPr>
            <a:picLocks noChangeAspect="1"/>
          </p:cNvPicPr>
          <p:nvPr/>
        </p:nvPicPr>
        <p:blipFill>
          <a:blip r:embed="rId5"/>
          <a:stretch>
            <a:fillRect/>
          </a:stretch>
        </p:blipFill>
        <p:spPr>
          <a:xfrm>
            <a:off x="8661599" y="3710414"/>
            <a:ext cx="2101958" cy="1695537"/>
          </a:xfrm>
          <a:prstGeom prst="rect">
            <a:avLst/>
          </a:prstGeom>
        </p:spPr>
      </p:pic>
      <p:pic>
        <p:nvPicPr>
          <p:cNvPr id="10" name="Imagen 9">
            <a:extLst>
              <a:ext uri="{FF2B5EF4-FFF2-40B4-BE49-F238E27FC236}">
                <a16:creationId xmlns:a16="http://schemas.microsoft.com/office/drawing/2014/main" id="{7CF3005F-A760-13F0-3BA4-A64BB6E3A334}"/>
              </a:ext>
            </a:extLst>
          </p:cNvPr>
          <p:cNvPicPr>
            <a:picLocks noChangeAspect="1"/>
          </p:cNvPicPr>
          <p:nvPr/>
        </p:nvPicPr>
        <p:blipFill>
          <a:blip r:embed="rId6"/>
          <a:stretch>
            <a:fillRect/>
          </a:stretch>
        </p:blipFill>
        <p:spPr>
          <a:xfrm>
            <a:off x="5064076" y="4397269"/>
            <a:ext cx="3394214" cy="1909992"/>
          </a:xfrm>
          <a:prstGeom prst="rect">
            <a:avLst/>
          </a:prstGeom>
        </p:spPr>
      </p:pic>
      <p:sp>
        <p:nvSpPr>
          <p:cNvPr id="11" name="Diagrama de flujo: conector 10">
            <a:extLst>
              <a:ext uri="{FF2B5EF4-FFF2-40B4-BE49-F238E27FC236}">
                <a16:creationId xmlns:a16="http://schemas.microsoft.com/office/drawing/2014/main" id="{BA2ED72C-8089-0E33-117A-4B5BD588BB15}"/>
              </a:ext>
            </a:extLst>
          </p:cNvPr>
          <p:cNvSpPr/>
          <p:nvPr/>
        </p:nvSpPr>
        <p:spPr>
          <a:xfrm>
            <a:off x="9162680" y="153346"/>
            <a:ext cx="2217107" cy="2070132"/>
          </a:xfrm>
          <a:prstGeom prst="flowChartConnector">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2" name="Diagrama de flujo: conector 11">
            <a:extLst>
              <a:ext uri="{FF2B5EF4-FFF2-40B4-BE49-F238E27FC236}">
                <a16:creationId xmlns:a16="http://schemas.microsoft.com/office/drawing/2014/main" id="{9A39347C-F817-2FB4-2A39-FCD8A28D6536}"/>
              </a:ext>
            </a:extLst>
          </p:cNvPr>
          <p:cNvSpPr/>
          <p:nvPr/>
        </p:nvSpPr>
        <p:spPr>
          <a:xfrm>
            <a:off x="9974893" y="1677293"/>
            <a:ext cx="2217107" cy="2070132"/>
          </a:xfrm>
          <a:prstGeom prst="flowChartConnector">
            <a:avLst/>
          </a:prstGeom>
          <a:solidFill>
            <a:srgbClr val="FF66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3" name="Diagrama de flujo: conector 12">
            <a:extLst>
              <a:ext uri="{FF2B5EF4-FFF2-40B4-BE49-F238E27FC236}">
                <a16:creationId xmlns:a16="http://schemas.microsoft.com/office/drawing/2014/main" id="{BF529344-DEE9-33C9-67E2-C1B2C9C110F5}"/>
              </a:ext>
            </a:extLst>
          </p:cNvPr>
          <p:cNvSpPr/>
          <p:nvPr/>
        </p:nvSpPr>
        <p:spPr>
          <a:xfrm>
            <a:off x="10271233" y="2984806"/>
            <a:ext cx="2217107" cy="2070132"/>
          </a:xfrm>
          <a:prstGeom prst="flowChartConnector">
            <a:avLst/>
          </a:prstGeom>
          <a:solidFill>
            <a:srgbClr val="81EBA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2782194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El Programa Transformación </a:t>
            </a:r>
          </a:p>
          <a:p>
            <a:pPr marR="0" lvl="0" indent="0" algn="l" fontAlgn="auto">
              <a:lnSpc>
                <a:spcPct val="100000"/>
              </a:lnSpc>
              <a:spcBef>
                <a:spcPts val="0"/>
              </a:spcBef>
              <a:spcAft>
                <a:spcPts val="0"/>
              </a:spcAft>
              <a:buClrTx/>
              <a:buSzTx/>
              <a:tabLst/>
              <a:defRPr/>
            </a:pPr>
            <a:endParaRPr lang="es-ES" sz="4000" dirty="0">
              <a:solidFill>
                <a:srgbClr val="10069F"/>
              </a:solidFill>
              <a:latin typeface="Arial" panose="020B0604020202020204"/>
              <a:ea typeface="+mn-ea"/>
              <a:cs typeface="+mn-cs"/>
            </a:endParaRP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pic>
        <p:nvPicPr>
          <p:cNvPr id="4" name="Imagen 3">
            <a:extLst>
              <a:ext uri="{FF2B5EF4-FFF2-40B4-BE49-F238E27FC236}">
                <a16:creationId xmlns:a16="http://schemas.microsoft.com/office/drawing/2014/main" id="{69E97364-79C2-723B-614C-78FBDBACD372}"/>
              </a:ext>
            </a:extLst>
          </p:cNvPr>
          <p:cNvPicPr>
            <a:picLocks noChangeAspect="1"/>
          </p:cNvPicPr>
          <p:nvPr/>
        </p:nvPicPr>
        <p:blipFill>
          <a:blip r:embed="rId3"/>
          <a:stretch>
            <a:fillRect/>
          </a:stretch>
        </p:blipFill>
        <p:spPr>
          <a:xfrm>
            <a:off x="2597011" y="1546085"/>
            <a:ext cx="7339835" cy="4127578"/>
          </a:xfrm>
          <a:prstGeom prst="rect">
            <a:avLst/>
          </a:prstGeom>
        </p:spPr>
      </p:pic>
    </p:spTree>
    <p:extLst>
      <p:ext uri="{BB962C8B-B14F-4D97-AF65-F5344CB8AC3E}">
        <p14:creationId xmlns:p14="http://schemas.microsoft.com/office/powerpoint/2010/main" val="3332456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El Programa que agrega Valor a tu Liderazgo</a:t>
            </a:r>
          </a:p>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En tiempos de Cambios y Transformación en las Organizaciones y Negocios</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Tree>
    <p:extLst>
      <p:ext uri="{BB962C8B-B14F-4D97-AF65-F5344CB8AC3E}">
        <p14:creationId xmlns:p14="http://schemas.microsoft.com/office/powerpoint/2010/main" val="22615283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El Programa que agrega Valor a tu Liderazgo</a:t>
            </a:r>
          </a:p>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En tiempos de Cambios y Transformación en las Organizaciones y Negocios</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Tree>
    <p:extLst>
      <p:ext uri="{BB962C8B-B14F-4D97-AF65-F5344CB8AC3E}">
        <p14:creationId xmlns:p14="http://schemas.microsoft.com/office/powerpoint/2010/main" val="2339712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Definición de Liderazgo</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
        <p:nvSpPr>
          <p:cNvPr id="4" name="CuadroTexto 3">
            <a:extLst>
              <a:ext uri="{FF2B5EF4-FFF2-40B4-BE49-F238E27FC236}">
                <a16:creationId xmlns:a16="http://schemas.microsoft.com/office/drawing/2014/main" id="{845EE7AF-4AF2-A79F-7D16-3D94B240539E}"/>
              </a:ext>
            </a:extLst>
          </p:cNvPr>
          <p:cNvSpPr txBox="1"/>
          <p:nvPr/>
        </p:nvSpPr>
        <p:spPr>
          <a:xfrm>
            <a:off x="2719388" y="2174439"/>
            <a:ext cx="6315074" cy="2308324"/>
          </a:xfrm>
          <a:prstGeom prst="rect">
            <a:avLst/>
          </a:prstGeom>
          <a:noFill/>
        </p:spPr>
        <p:txBody>
          <a:bodyPr wrap="square">
            <a:spAutoFit/>
          </a:bodyPr>
          <a:lstStyle/>
          <a:p>
            <a:pPr algn="l" fontAlgn="base"/>
            <a:r>
              <a:rPr lang="es-ES" b="1" i="0" u="none" strike="noStrike" dirty="0">
                <a:solidFill>
                  <a:srgbClr val="005980"/>
                </a:solidFill>
                <a:effectLst/>
                <a:latin typeface="Adamina"/>
              </a:rPr>
              <a:t>Qué es un líder según John Maxwell</a:t>
            </a:r>
          </a:p>
          <a:p>
            <a:pPr algn="l" fontAlgn="base"/>
            <a:r>
              <a:rPr lang="es-ES">
                <a:solidFill>
                  <a:srgbClr val="333333"/>
                </a:solidFill>
                <a:latin typeface="Times New Roman" panose="02020603050405020304" pitchFamily="18" charset="0"/>
              </a:rPr>
              <a:t>E</a:t>
            </a:r>
            <a:r>
              <a:rPr lang="es-ES" b="0" i="0">
                <a:solidFill>
                  <a:srgbClr val="333333"/>
                </a:solidFill>
                <a:effectLst/>
                <a:latin typeface="Times New Roman" panose="02020603050405020304" pitchFamily="18" charset="0"/>
              </a:rPr>
              <a:t>l </a:t>
            </a:r>
            <a:r>
              <a:rPr lang="es-ES" b="0" i="0" dirty="0">
                <a:solidFill>
                  <a:srgbClr val="333333"/>
                </a:solidFill>
                <a:effectLst/>
                <a:latin typeface="Times New Roman" panose="02020603050405020304" pitchFamily="18" charset="0"/>
              </a:rPr>
              <a:t>líder es aquel que es capaz de influenciar a sus subordinados para que mejoren sus capacidades y logren adquirir mayores conocimientos del área específica en la cual se encuentran. Logrando de este modo, obtener cierta especialización que les permitirá a su vez, realizar con mayor facilidad las actividades correspondientes en pro de la consecución de un objetivo específico.</a:t>
            </a:r>
          </a:p>
        </p:txBody>
      </p:sp>
    </p:spTree>
    <p:extLst>
      <p:ext uri="{BB962C8B-B14F-4D97-AF65-F5344CB8AC3E}">
        <p14:creationId xmlns:p14="http://schemas.microsoft.com/office/powerpoint/2010/main" val="39050047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texto 2">
            <a:extLst>
              <a:ext uri="{FF2B5EF4-FFF2-40B4-BE49-F238E27FC236}">
                <a16:creationId xmlns:a16="http://schemas.microsoft.com/office/drawing/2014/main" id="{EB1B145D-C6D0-7636-B993-3B67735A0205}"/>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28" name="Título 2">
            <a:extLst>
              <a:ext uri="{FF2B5EF4-FFF2-40B4-BE49-F238E27FC236}">
                <a16:creationId xmlns:a16="http://schemas.microsoft.com/office/drawing/2014/main" id="{1F8DDD3D-F18B-23CB-BD17-0E093682ED6F}"/>
              </a:ext>
            </a:extLst>
          </p:cNvPr>
          <p:cNvSpPr txBox="1">
            <a:spLocks/>
          </p:cNvSpPr>
          <p:nvPr/>
        </p:nvSpPr>
        <p:spPr>
          <a:xfrm>
            <a:off x="-1" y="13490"/>
            <a:ext cx="9494729"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Logos del Método</a:t>
            </a:r>
          </a:p>
        </p:txBody>
      </p:sp>
      <p:sp>
        <p:nvSpPr>
          <p:cNvPr id="69" name="CuadroTexto 68">
            <a:extLst>
              <a:ext uri="{FF2B5EF4-FFF2-40B4-BE49-F238E27FC236}">
                <a16:creationId xmlns:a16="http://schemas.microsoft.com/office/drawing/2014/main" id="{0D07FC9A-B1CC-CA6C-EE39-221297A3EF03}"/>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70" name="CuadroTexto 69">
            <a:extLst>
              <a:ext uri="{FF2B5EF4-FFF2-40B4-BE49-F238E27FC236}">
                <a16:creationId xmlns:a16="http://schemas.microsoft.com/office/drawing/2014/main" id="{43F6EEFE-02AC-9A96-3E9B-147A15E8CC1B}"/>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sp>
        <p:nvSpPr>
          <p:cNvPr id="2" name="CuadroTexto 1">
            <a:extLst>
              <a:ext uri="{FF2B5EF4-FFF2-40B4-BE49-F238E27FC236}">
                <a16:creationId xmlns:a16="http://schemas.microsoft.com/office/drawing/2014/main" id="{E943B176-0606-C5FD-BFF0-CC7A905B07B9}"/>
              </a:ext>
            </a:extLst>
          </p:cNvPr>
          <p:cNvSpPr txBox="1"/>
          <p:nvPr/>
        </p:nvSpPr>
        <p:spPr>
          <a:xfrm>
            <a:off x="7158111" y="1819506"/>
            <a:ext cx="3210199"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800" b="1" i="0" u="none" strike="noStrike" kern="1200" cap="none" spc="-300" normalizeH="0" baseline="0" noProof="0" dirty="0">
                <a:ln>
                  <a:noFill/>
                </a:ln>
                <a:solidFill>
                  <a:srgbClr val="FF3399"/>
                </a:solidFill>
                <a:effectLst/>
                <a:uLnTx/>
                <a:uFillTx/>
                <a:latin typeface="Corbel"/>
                <a:ea typeface="+mn-ea"/>
                <a:cs typeface="+mn-cs"/>
              </a:rPr>
              <a:t>CoMe-ON</a:t>
            </a:r>
            <a:br>
              <a:rPr kumimoji="0" lang="es-ES" sz="4000" b="1" i="0" u="none" strike="noStrike" kern="1200" cap="none" spc="-300" normalizeH="0" baseline="0" noProof="0" dirty="0">
                <a:ln>
                  <a:noFill/>
                </a:ln>
                <a:solidFill>
                  <a:srgbClr val="0000CC"/>
                </a:solidFill>
                <a:effectLst/>
                <a:uLnTx/>
                <a:uFillTx/>
                <a:latin typeface="Corbel"/>
                <a:ea typeface="+mn-ea"/>
                <a:cs typeface="+mn-cs"/>
              </a:rPr>
            </a:b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3" name="CuadroTexto 2">
            <a:extLst>
              <a:ext uri="{FF2B5EF4-FFF2-40B4-BE49-F238E27FC236}">
                <a16:creationId xmlns:a16="http://schemas.microsoft.com/office/drawing/2014/main" id="{9CDEC211-3F8B-4308-95AE-20B341BAAD07}"/>
              </a:ext>
            </a:extLst>
          </p:cNvPr>
          <p:cNvSpPr txBox="1"/>
          <p:nvPr/>
        </p:nvSpPr>
        <p:spPr>
          <a:xfrm>
            <a:off x="7242549" y="2482737"/>
            <a:ext cx="321019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1" u="none" strike="noStrike" kern="1200" cap="none" spc="0" normalizeH="0" baseline="0" noProof="0" dirty="0">
                <a:ln>
                  <a:noFill/>
                </a:ln>
                <a:effectLst/>
                <a:uLnTx/>
                <a:uFillTx/>
                <a:latin typeface="Arial" panose="020B0604020202020204"/>
                <a:ea typeface="+mn-ea"/>
                <a:cs typeface="+mn-cs"/>
              </a:rPr>
              <a:t>Nuestro camino hacia la </a:t>
            </a:r>
            <a:r>
              <a:rPr lang="es-ES" sz="1200" b="1" i="1" dirty="0">
                <a:latin typeface="Arial" panose="020B0604020202020204"/>
              </a:rPr>
              <a:t>transformación</a:t>
            </a:r>
            <a:endParaRPr kumimoji="0" lang="en-US" sz="1200" b="1" i="1" u="none" strike="noStrike" kern="1200" cap="none" spc="0" normalizeH="0" baseline="0" noProof="0" dirty="0">
              <a:ln>
                <a:noFill/>
              </a:ln>
              <a:effectLst/>
              <a:uLnTx/>
              <a:uFillTx/>
              <a:latin typeface="Arial" panose="020B0604020202020204"/>
              <a:ea typeface="+mn-ea"/>
              <a:cs typeface="+mn-cs"/>
            </a:endParaRPr>
          </a:p>
        </p:txBody>
      </p:sp>
      <p:pic>
        <p:nvPicPr>
          <p:cNvPr id="6" name="Gráfico 5" descr="Ondulación con relleno sólido">
            <a:extLst>
              <a:ext uri="{FF2B5EF4-FFF2-40B4-BE49-F238E27FC236}">
                <a16:creationId xmlns:a16="http://schemas.microsoft.com/office/drawing/2014/main" id="{0F678275-8D2E-C876-659D-2F8D5FB8A5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81435" y="1984094"/>
            <a:ext cx="637142" cy="637142"/>
          </a:xfrm>
          <a:prstGeom prst="rect">
            <a:avLst/>
          </a:prstGeom>
        </p:spPr>
      </p:pic>
      <p:sp>
        <p:nvSpPr>
          <p:cNvPr id="7" name="CuadroTexto 6">
            <a:extLst>
              <a:ext uri="{FF2B5EF4-FFF2-40B4-BE49-F238E27FC236}">
                <a16:creationId xmlns:a16="http://schemas.microsoft.com/office/drawing/2014/main" id="{D8493AEC-B0AD-6127-6C2E-9F99F679D24F}"/>
              </a:ext>
            </a:extLst>
          </p:cNvPr>
          <p:cNvSpPr txBox="1"/>
          <p:nvPr/>
        </p:nvSpPr>
        <p:spPr>
          <a:xfrm>
            <a:off x="825233" y="1666507"/>
            <a:ext cx="3210199"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800" b="1" i="0" u="none" strike="noStrike" kern="1200" cap="none" spc="-300" normalizeH="0" baseline="0" noProof="0" dirty="0" err="1">
                <a:ln>
                  <a:noFill/>
                </a:ln>
                <a:solidFill>
                  <a:srgbClr val="FF3399"/>
                </a:solidFill>
                <a:effectLst/>
                <a:uLnTx/>
                <a:uFillTx/>
                <a:latin typeface="Corbel"/>
                <a:ea typeface="+mn-ea"/>
                <a:cs typeface="+mn-cs"/>
              </a:rPr>
              <a:t>CoMe</a:t>
            </a:r>
            <a:r>
              <a:rPr kumimoji="0" lang="es-ES" sz="4800" b="1" i="0" u="none" strike="noStrike" kern="1200" cap="none" spc="-300" normalizeH="0" baseline="0" noProof="0" dirty="0">
                <a:ln>
                  <a:noFill/>
                </a:ln>
                <a:solidFill>
                  <a:srgbClr val="FF3399"/>
                </a:solidFill>
                <a:effectLst/>
                <a:uLnTx/>
                <a:uFillTx/>
                <a:latin typeface="Corbel"/>
                <a:ea typeface="+mn-ea"/>
                <a:cs typeface="+mn-cs"/>
              </a:rPr>
              <a:t>-      </a:t>
            </a:r>
            <a:r>
              <a:rPr kumimoji="0" lang="es-ES" sz="3200" b="1" i="0" u="none" strike="noStrike" kern="1200" cap="none" spc="-300" normalizeH="0" baseline="0" noProof="0" dirty="0">
                <a:ln>
                  <a:noFill/>
                </a:ln>
                <a:solidFill>
                  <a:srgbClr val="FF3399"/>
                </a:solidFill>
                <a:effectLst/>
                <a:uLnTx/>
                <a:uFillTx/>
                <a:latin typeface="Corbel"/>
                <a:ea typeface="+mn-ea"/>
                <a:cs typeface="+mn-cs"/>
              </a:rPr>
              <a:t>N</a:t>
            </a:r>
            <a:br>
              <a:rPr kumimoji="0" lang="es-ES" sz="4000" b="1" i="0" u="none" strike="noStrike" kern="1200" cap="none" spc="-300" normalizeH="0" baseline="0" noProof="0" dirty="0">
                <a:ln>
                  <a:noFill/>
                </a:ln>
                <a:solidFill>
                  <a:srgbClr val="0000CC"/>
                </a:solidFill>
                <a:effectLst/>
                <a:uLnTx/>
                <a:uFillTx/>
                <a:latin typeface="Corbel"/>
                <a:ea typeface="+mn-ea"/>
                <a:cs typeface="+mn-cs"/>
              </a:rPr>
            </a:b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 name="CuadroTexto 7">
            <a:extLst>
              <a:ext uri="{FF2B5EF4-FFF2-40B4-BE49-F238E27FC236}">
                <a16:creationId xmlns:a16="http://schemas.microsoft.com/office/drawing/2014/main" id="{40BF50D3-1EF4-57A9-56C4-A8900AA0F883}"/>
              </a:ext>
            </a:extLst>
          </p:cNvPr>
          <p:cNvSpPr txBox="1"/>
          <p:nvPr/>
        </p:nvSpPr>
        <p:spPr>
          <a:xfrm>
            <a:off x="527283" y="2318803"/>
            <a:ext cx="321019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1" u="none" strike="noStrike" kern="1200" cap="none" spc="0" normalizeH="0" baseline="0" noProof="0" dirty="0">
                <a:ln>
                  <a:noFill/>
                </a:ln>
                <a:effectLst/>
                <a:uLnTx/>
                <a:uFillTx/>
                <a:latin typeface="Arial" panose="020B0604020202020204"/>
                <a:ea typeface="+mn-ea"/>
                <a:cs typeface="+mn-cs"/>
              </a:rPr>
              <a:t>Nuestro camino hacia la </a:t>
            </a:r>
            <a:r>
              <a:rPr lang="es-ES" sz="1200" b="1" i="1" dirty="0">
                <a:latin typeface="Arial" panose="020B0604020202020204"/>
              </a:rPr>
              <a:t>transformación</a:t>
            </a:r>
            <a:endParaRPr kumimoji="0" lang="en-US" sz="1200" b="1" i="1" u="none" strike="noStrike" kern="1200" cap="none" spc="0" normalizeH="0" baseline="0" noProof="0" dirty="0">
              <a:ln>
                <a:noFill/>
              </a:ln>
              <a:effectLst/>
              <a:uLnTx/>
              <a:uFillTx/>
              <a:latin typeface="Arial" panose="020B0604020202020204"/>
              <a:ea typeface="+mn-ea"/>
              <a:cs typeface="+mn-cs"/>
            </a:endParaRPr>
          </a:p>
        </p:txBody>
      </p:sp>
      <p:pic>
        <p:nvPicPr>
          <p:cNvPr id="9" name="Gráfico 8" descr="Ondulación con relleno sólido">
            <a:extLst>
              <a:ext uri="{FF2B5EF4-FFF2-40B4-BE49-F238E27FC236}">
                <a16:creationId xmlns:a16="http://schemas.microsoft.com/office/drawing/2014/main" id="{A4E17F6A-FBA2-652C-C2CD-484E736B408D}"/>
              </a:ext>
            </a:extLst>
          </p:cNvPr>
          <p:cNvPicPr>
            <a:picLocks noChangeAspect="1"/>
          </p:cNvPicPr>
          <p:nvPr/>
        </p:nvPicPr>
        <p:blipFill>
          <a:blip r:embed="rId2">
            <a:alphaModFix/>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4632357">
            <a:off x="2453554" y="1505642"/>
            <a:ext cx="734791" cy="824826"/>
          </a:xfrm>
          <a:prstGeom prst="rect">
            <a:avLst/>
          </a:prstGeom>
          <a:effectLst>
            <a:outerShdw blurRad="50800" dist="50800" dir="600000" sx="158000" sy="158000" algn="ctr" rotWithShape="0">
              <a:srgbClr val="000000">
                <a:alpha val="43137"/>
              </a:srgbClr>
            </a:outerShdw>
          </a:effectLst>
          <a:scene3d>
            <a:camera prst="perspectiveContrastingLeftFacing"/>
            <a:lightRig rig="threePt" dir="t"/>
          </a:scene3d>
        </p:spPr>
      </p:pic>
      <p:sp>
        <p:nvSpPr>
          <p:cNvPr id="10" name="CuadroTexto 9">
            <a:extLst>
              <a:ext uri="{FF2B5EF4-FFF2-40B4-BE49-F238E27FC236}">
                <a16:creationId xmlns:a16="http://schemas.microsoft.com/office/drawing/2014/main" id="{EDFCEF7E-1C97-57F5-A2A5-46E1ACD8077C}"/>
              </a:ext>
            </a:extLst>
          </p:cNvPr>
          <p:cNvSpPr txBox="1"/>
          <p:nvPr/>
        </p:nvSpPr>
        <p:spPr>
          <a:xfrm>
            <a:off x="365181" y="3212037"/>
            <a:ext cx="3210199"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800" b="1" i="0" u="none" strike="noStrike" kern="1200" cap="none" spc="-300" normalizeH="0" baseline="0" noProof="0" dirty="0">
                <a:ln>
                  <a:noFill/>
                </a:ln>
                <a:solidFill>
                  <a:srgbClr val="FF3399"/>
                </a:solidFill>
                <a:effectLst/>
                <a:uLnTx/>
                <a:uFillTx/>
                <a:latin typeface="Corbel"/>
                <a:ea typeface="+mn-ea"/>
                <a:cs typeface="+mn-cs"/>
              </a:rPr>
              <a:t>CoMe-ON</a:t>
            </a:r>
            <a:br>
              <a:rPr kumimoji="0" lang="es-ES" sz="4000" b="1" i="0" u="none" strike="noStrike" kern="1200" cap="none" spc="-300" normalizeH="0" baseline="0" noProof="0" dirty="0">
                <a:ln>
                  <a:noFill/>
                </a:ln>
                <a:solidFill>
                  <a:srgbClr val="0000CC"/>
                </a:solidFill>
                <a:effectLst/>
                <a:uLnTx/>
                <a:uFillTx/>
                <a:latin typeface="Corbel"/>
                <a:ea typeface="+mn-ea"/>
                <a:cs typeface="+mn-cs"/>
              </a:rPr>
            </a:b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1" name="CuadroTexto 10">
            <a:extLst>
              <a:ext uri="{FF2B5EF4-FFF2-40B4-BE49-F238E27FC236}">
                <a16:creationId xmlns:a16="http://schemas.microsoft.com/office/drawing/2014/main" id="{CAF07647-74B1-CC42-5B8D-7769656FBEB1}"/>
              </a:ext>
            </a:extLst>
          </p:cNvPr>
          <p:cNvSpPr txBox="1"/>
          <p:nvPr/>
        </p:nvSpPr>
        <p:spPr>
          <a:xfrm>
            <a:off x="609922" y="3864333"/>
            <a:ext cx="321019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1" u="none" strike="noStrike" kern="1200" cap="none" spc="0" normalizeH="0" baseline="0" noProof="0" dirty="0">
                <a:ln>
                  <a:noFill/>
                </a:ln>
                <a:effectLst/>
                <a:uLnTx/>
                <a:uFillTx/>
                <a:latin typeface="Arial" panose="020B0604020202020204"/>
                <a:ea typeface="+mn-ea"/>
                <a:cs typeface="+mn-cs"/>
              </a:rPr>
              <a:t>Nuestro camino hacia la </a:t>
            </a:r>
            <a:r>
              <a:rPr lang="es-ES" sz="1200" b="1" i="1" dirty="0">
                <a:latin typeface="Arial" panose="020B0604020202020204"/>
              </a:rPr>
              <a:t>transformación</a:t>
            </a:r>
            <a:endParaRPr kumimoji="0" lang="en-US" sz="1200" b="1" i="1" u="none" strike="noStrike" kern="1200" cap="none" spc="0" normalizeH="0" baseline="0" noProof="0" dirty="0">
              <a:ln>
                <a:noFill/>
              </a:ln>
              <a:effectLst/>
              <a:uLnTx/>
              <a:uFillTx/>
              <a:latin typeface="Arial" panose="020B0604020202020204"/>
              <a:ea typeface="+mn-ea"/>
              <a:cs typeface="+mn-cs"/>
            </a:endParaRPr>
          </a:p>
        </p:txBody>
      </p:sp>
      <p:pic>
        <p:nvPicPr>
          <p:cNvPr id="13" name="Gráfico 12" descr="Ondulación con relleno sólido">
            <a:extLst>
              <a:ext uri="{FF2B5EF4-FFF2-40B4-BE49-F238E27FC236}">
                <a16:creationId xmlns:a16="http://schemas.microsoft.com/office/drawing/2014/main" id="{3BF36413-BF3E-7853-7358-3632068E6723}"/>
              </a:ext>
            </a:extLst>
          </p:cNvPr>
          <p:cNvPicPr>
            <a:picLocks noChangeAspect="1"/>
          </p:cNvPicPr>
          <p:nvPr/>
        </p:nvPicPr>
        <p:blipFill>
          <a:blip r:embed="rId2">
            <a:alphaModFix/>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770670">
            <a:off x="2779487" y="3087197"/>
            <a:ext cx="734791" cy="824826"/>
          </a:xfrm>
          <a:prstGeom prst="rect">
            <a:avLst/>
          </a:prstGeom>
          <a:effectLst>
            <a:outerShdw blurRad="50800" dist="50800" dir="600000" sx="158000" sy="158000" algn="ctr" rotWithShape="0">
              <a:srgbClr val="000000">
                <a:alpha val="43137"/>
              </a:srgbClr>
            </a:outerShdw>
          </a:effectLst>
          <a:scene3d>
            <a:camera prst="perspectiveContrastingLeftFacing"/>
            <a:lightRig rig="threePt" dir="t"/>
          </a:scene3d>
        </p:spPr>
      </p:pic>
      <p:sp>
        <p:nvSpPr>
          <p:cNvPr id="14" name="CuadroTexto 13">
            <a:extLst>
              <a:ext uri="{FF2B5EF4-FFF2-40B4-BE49-F238E27FC236}">
                <a16:creationId xmlns:a16="http://schemas.microsoft.com/office/drawing/2014/main" id="{786FD2B5-D312-4B5B-15A9-7C56165754DD}"/>
              </a:ext>
            </a:extLst>
          </p:cNvPr>
          <p:cNvSpPr txBox="1"/>
          <p:nvPr/>
        </p:nvSpPr>
        <p:spPr>
          <a:xfrm>
            <a:off x="8218112" y="3782334"/>
            <a:ext cx="3210199"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800" b="1" i="0" u="none" strike="noStrike" kern="1200" cap="none" spc="-300" normalizeH="0" baseline="0" noProof="0" dirty="0">
                <a:ln>
                  <a:noFill/>
                </a:ln>
                <a:solidFill>
                  <a:srgbClr val="FF3399"/>
                </a:solidFill>
                <a:effectLst/>
                <a:uLnTx/>
                <a:uFillTx/>
                <a:latin typeface="Corbel"/>
                <a:ea typeface="+mn-ea"/>
                <a:cs typeface="+mn-cs"/>
              </a:rPr>
              <a:t>CoMe-ON</a:t>
            </a:r>
            <a:br>
              <a:rPr kumimoji="0" lang="es-ES" sz="4000" b="1" i="0" u="none" strike="noStrike" kern="1200" cap="none" spc="-300" normalizeH="0" baseline="0" noProof="0" dirty="0">
                <a:ln>
                  <a:noFill/>
                </a:ln>
                <a:solidFill>
                  <a:srgbClr val="0000CC"/>
                </a:solidFill>
                <a:effectLst/>
                <a:uLnTx/>
                <a:uFillTx/>
                <a:latin typeface="Corbel"/>
                <a:ea typeface="+mn-ea"/>
                <a:cs typeface="+mn-cs"/>
              </a:rPr>
            </a:b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5" name="CuadroTexto 14">
            <a:extLst>
              <a:ext uri="{FF2B5EF4-FFF2-40B4-BE49-F238E27FC236}">
                <a16:creationId xmlns:a16="http://schemas.microsoft.com/office/drawing/2014/main" id="{748F0702-A7EF-A575-E74D-70314360A5CC}"/>
              </a:ext>
            </a:extLst>
          </p:cNvPr>
          <p:cNvSpPr txBox="1"/>
          <p:nvPr/>
        </p:nvSpPr>
        <p:spPr>
          <a:xfrm>
            <a:off x="8833735" y="4428665"/>
            <a:ext cx="186166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1" u="none" strike="noStrike" kern="1200" cap="none" spc="0" normalizeH="0" baseline="0" noProof="0" dirty="0">
                <a:ln>
                  <a:noFill/>
                </a:ln>
                <a:effectLst/>
                <a:uLnTx/>
                <a:uFillTx/>
                <a:latin typeface="Arial" panose="020B0604020202020204"/>
                <a:ea typeface="+mn-ea"/>
                <a:cs typeface="+mn-cs"/>
              </a:rPr>
              <a:t>Nuestro camino hac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1" u="none" strike="noStrike" kern="1200" cap="none" spc="0" normalizeH="0" baseline="0" noProof="0" dirty="0">
                <a:ln>
                  <a:noFill/>
                </a:ln>
                <a:effectLst/>
                <a:uLnTx/>
                <a:uFillTx/>
                <a:latin typeface="Arial" panose="020B0604020202020204"/>
                <a:ea typeface="+mn-ea"/>
                <a:cs typeface="+mn-cs"/>
              </a:rPr>
              <a:t>       la </a:t>
            </a:r>
            <a:r>
              <a:rPr lang="es-ES" sz="1200" b="1" i="1" dirty="0">
                <a:latin typeface="Arial" panose="020B0604020202020204"/>
              </a:rPr>
              <a:t>transformación</a:t>
            </a:r>
            <a:endParaRPr kumimoji="0" lang="en-US" sz="1200" b="1" i="1" u="none" strike="noStrike" kern="1200" cap="none" spc="0" normalizeH="0" baseline="0" noProof="0" dirty="0">
              <a:ln>
                <a:noFill/>
              </a:ln>
              <a:effectLst/>
              <a:uLnTx/>
              <a:uFillTx/>
              <a:latin typeface="Arial" panose="020B0604020202020204"/>
              <a:ea typeface="+mn-ea"/>
              <a:cs typeface="+mn-cs"/>
            </a:endParaRPr>
          </a:p>
        </p:txBody>
      </p:sp>
      <p:pic>
        <p:nvPicPr>
          <p:cNvPr id="16" name="Gráfico 15" descr="Ondulación con relleno sólido">
            <a:extLst>
              <a:ext uri="{FF2B5EF4-FFF2-40B4-BE49-F238E27FC236}">
                <a16:creationId xmlns:a16="http://schemas.microsoft.com/office/drawing/2014/main" id="{EB2B82EA-0949-473A-C10D-C82FCB8755FC}"/>
              </a:ext>
            </a:extLst>
          </p:cNvPr>
          <p:cNvPicPr>
            <a:picLocks noChangeAspect="1"/>
          </p:cNvPicPr>
          <p:nvPr/>
        </p:nvPicPr>
        <p:blipFill>
          <a:blip r:embed="rId2">
            <a:alphaModFix/>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770670">
            <a:off x="10540638" y="4109771"/>
            <a:ext cx="734791" cy="824826"/>
          </a:xfrm>
          <a:prstGeom prst="rect">
            <a:avLst/>
          </a:prstGeom>
          <a:effectLst>
            <a:outerShdw blurRad="50800" dist="50800" dir="600000" sx="158000" sy="158000" algn="ctr" rotWithShape="0">
              <a:srgbClr val="000000">
                <a:alpha val="43137"/>
              </a:srgbClr>
            </a:outerShdw>
          </a:effectLst>
          <a:scene3d>
            <a:camera prst="perspectiveContrastingLeftFacing"/>
            <a:lightRig rig="threePt" dir="t"/>
          </a:scene3d>
        </p:spPr>
      </p:pic>
      <p:sp>
        <p:nvSpPr>
          <p:cNvPr id="17" name="Rectángulo: esquinas redondeadas 16">
            <a:extLst>
              <a:ext uri="{FF2B5EF4-FFF2-40B4-BE49-F238E27FC236}">
                <a16:creationId xmlns:a16="http://schemas.microsoft.com/office/drawing/2014/main" id="{89E68998-8D5A-10D7-39BE-80F67DC16418}"/>
              </a:ext>
            </a:extLst>
          </p:cNvPr>
          <p:cNvSpPr/>
          <p:nvPr/>
        </p:nvSpPr>
        <p:spPr>
          <a:xfrm>
            <a:off x="7995529" y="3762029"/>
            <a:ext cx="3655366" cy="136477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22" name="CuadroTexto 21">
            <a:extLst>
              <a:ext uri="{FF2B5EF4-FFF2-40B4-BE49-F238E27FC236}">
                <a16:creationId xmlns:a16="http://schemas.microsoft.com/office/drawing/2014/main" id="{3962CF53-DB13-EA39-F4EF-DF687188ACF6}"/>
              </a:ext>
            </a:extLst>
          </p:cNvPr>
          <p:cNvSpPr txBox="1"/>
          <p:nvPr/>
        </p:nvSpPr>
        <p:spPr>
          <a:xfrm>
            <a:off x="3882956" y="4466073"/>
            <a:ext cx="3210199"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800" b="1" i="0" u="none" strike="noStrike" kern="1200" cap="none" spc="-300" normalizeH="0" baseline="0" noProof="0" dirty="0">
                <a:ln>
                  <a:noFill/>
                </a:ln>
                <a:solidFill>
                  <a:srgbClr val="FF3399"/>
                </a:solidFill>
                <a:effectLst/>
                <a:uLnTx/>
                <a:uFillTx/>
                <a:latin typeface="Corbel"/>
                <a:ea typeface="+mn-ea"/>
                <a:cs typeface="+mn-cs"/>
              </a:rPr>
              <a:t>CoMe-ON</a:t>
            </a:r>
            <a:br>
              <a:rPr kumimoji="0" lang="es-ES" sz="4000" b="1" i="0" u="none" strike="noStrike" kern="1200" cap="none" spc="-300" normalizeH="0" baseline="0" noProof="0" dirty="0">
                <a:ln>
                  <a:noFill/>
                </a:ln>
                <a:solidFill>
                  <a:srgbClr val="0000CC"/>
                </a:solidFill>
                <a:effectLst/>
                <a:uLnTx/>
                <a:uFillTx/>
                <a:latin typeface="Corbel"/>
                <a:ea typeface="+mn-ea"/>
                <a:cs typeface="+mn-cs"/>
              </a:rPr>
            </a:b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3" name="CuadroTexto 22">
            <a:extLst>
              <a:ext uri="{FF2B5EF4-FFF2-40B4-BE49-F238E27FC236}">
                <a16:creationId xmlns:a16="http://schemas.microsoft.com/office/drawing/2014/main" id="{5BEE4619-F0E3-5163-6ED4-441B85C79AA3}"/>
              </a:ext>
            </a:extLst>
          </p:cNvPr>
          <p:cNvSpPr txBox="1"/>
          <p:nvPr/>
        </p:nvSpPr>
        <p:spPr>
          <a:xfrm>
            <a:off x="4249741" y="5112404"/>
            <a:ext cx="1861663"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200" b="1" i="1" u="none" strike="noStrike" kern="1200" cap="none" spc="0" normalizeH="0" baseline="0" noProof="0" dirty="0" err="1">
                <a:ln>
                  <a:noFill/>
                </a:ln>
                <a:effectLst/>
                <a:uLnTx/>
                <a:uFillTx/>
                <a:latin typeface="Arial" panose="020B0604020202020204"/>
                <a:ea typeface="+mn-ea"/>
                <a:cs typeface="+mn-cs"/>
              </a:rPr>
              <a:t>Our</a:t>
            </a:r>
            <a:r>
              <a:rPr kumimoji="0" lang="es-ES" sz="1200" b="1" i="1" u="none" strike="noStrike" kern="1200" cap="none" spc="0" normalizeH="0" baseline="0" noProof="0" dirty="0">
                <a:ln>
                  <a:noFill/>
                </a:ln>
                <a:effectLst/>
                <a:uLnTx/>
                <a:uFillTx/>
                <a:latin typeface="Arial" panose="020B0604020202020204"/>
                <a:ea typeface="+mn-ea"/>
                <a:cs typeface="+mn-cs"/>
              </a:rPr>
              <a:t> </a:t>
            </a:r>
            <a:r>
              <a:rPr kumimoji="0" lang="es-ES" sz="1200" b="1" i="1" u="none" strike="noStrike" kern="1200" cap="none" spc="0" normalizeH="0" baseline="0" noProof="0" dirty="0" err="1">
                <a:ln>
                  <a:noFill/>
                </a:ln>
                <a:effectLst/>
                <a:uLnTx/>
                <a:uFillTx/>
                <a:latin typeface="Arial" panose="020B0604020202020204"/>
                <a:ea typeface="+mn-ea"/>
                <a:cs typeface="+mn-cs"/>
              </a:rPr>
              <a:t>journey</a:t>
            </a:r>
            <a:r>
              <a:rPr kumimoji="0" lang="es-ES" sz="1200" b="1" i="1" u="none" strike="noStrike" kern="1200" cap="none" spc="0" normalizeH="0" baseline="0" noProof="0" dirty="0">
                <a:ln>
                  <a:noFill/>
                </a:ln>
                <a:effectLst/>
                <a:uLnTx/>
                <a:uFillTx/>
                <a:latin typeface="Arial" panose="020B0604020202020204"/>
                <a:ea typeface="+mn-ea"/>
                <a:cs typeface="+mn-cs"/>
              </a:rPr>
              <a:t> </a:t>
            </a:r>
            <a:r>
              <a:rPr kumimoji="0" lang="es-ES" sz="1200" b="1" i="1" u="none" strike="noStrike" kern="1200" cap="none" spc="0" normalizeH="0" baseline="0" noProof="0" dirty="0" err="1">
                <a:ln>
                  <a:noFill/>
                </a:ln>
                <a:effectLst/>
                <a:uLnTx/>
                <a:uFillTx/>
                <a:latin typeface="Arial" panose="020B0604020202020204"/>
                <a:ea typeface="+mn-ea"/>
                <a:cs typeface="+mn-cs"/>
              </a:rPr>
              <a:t>towards</a:t>
            </a:r>
            <a:r>
              <a:rPr kumimoji="0" lang="es-ES" sz="1200" b="1" i="1" u="none" strike="noStrike" kern="1200" cap="none" spc="0" normalizeH="0" baseline="0" noProof="0" dirty="0">
                <a:ln>
                  <a:noFill/>
                </a:ln>
                <a:effectLst/>
                <a:uLnTx/>
                <a:uFillTx/>
                <a:latin typeface="Arial" panose="020B0604020202020204"/>
                <a:ea typeface="+mn-ea"/>
                <a:cs typeface="+mn-cs"/>
              </a:rPr>
              <a:t>       </a:t>
            </a:r>
            <a:r>
              <a:rPr kumimoji="0" lang="es-ES" sz="1200" b="1" i="1" u="none" strike="noStrike" kern="1200" cap="none" spc="0" normalizeH="0" baseline="0" noProof="0" dirty="0" err="1">
                <a:ln>
                  <a:noFill/>
                </a:ln>
                <a:effectLst/>
                <a:uLnTx/>
                <a:uFillTx/>
                <a:latin typeface="Arial" panose="020B0604020202020204"/>
                <a:ea typeface="+mn-ea"/>
                <a:cs typeface="+mn-cs"/>
              </a:rPr>
              <a:t>transformation</a:t>
            </a:r>
            <a:endParaRPr kumimoji="0" lang="en-US" sz="1200" b="1" i="1" u="none" strike="noStrike" kern="1200" cap="none" spc="0" normalizeH="0" baseline="0" noProof="0" dirty="0">
              <a:ln>
                <a:noFill/>
              </a:ln>
              <a:effectLst/>
              <a:uLnTx/>
              <a:uFillTx/>
              <a:latin typeface="Arial" panose="020B0604020202020204"/>
              <a:ea typeface="+mn-ea"/>
              <a:cs typeface="+mn-cs"/>
            </a:endParaRPr>
          </a:p>
        </p:txBody>
      </p:sp>
      <p:pic>
        <p:nvPicPr>
          <p:cNvPr id="24" name="Gráfico 23" descr="Ondulación con relleno sólido">
            <a:extLst>
              <a:ext uri="{FF2B5EF4-FFF2-40B4-BE49-F238E27FC236}">
                <a16:creationId xmlns:a16="http://schemas.microsoft.com/office/drawing/2014/main" id="{68602D2A-6018-91B9-D348-B186354D8D90}"/>
              </a:ext>
            </a:extLst>
          </p:cNvPr>
          <p:cNvPicPr>
            <a:picLocks noChangeAspect="1"/>
          </p:cNvPicPr>
          <p:nvPr/>
        </p:nvPicPr>
        <p:blipFill>
          <a:blip r:embed="rId2">
            <a:alphaModFix/>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770670">
            <a:off x="6075766" y="4793510"/>
            <a:ext cx="734791" cy="824826"/>
          </a:xfrm>
          <a:prstGeom prst="rect">
            <a:avLst/>
          </a:prstGeom>
          <a:effectLst>
            <a:outerShdw blurRad="50800" dist="50800" dir="600000" sx="158000" sy="158000" algn="ctr" rotWithShape="0">
              <a:srgbClr val="000000">
                <a:alpha val="43137"/>
              </a:srgbClr>
            </a:outerShdw>
          </a:effectLst>
          <a:scene3d>
            <a:camera prst="perspectiveContrastingLeftFacing"/>
            <a:lightRig rig="threePt" dir="t"/>
          </a:scene3d>
        </p:spPr>
      </p:pic>
      <p:sp>
        <p:nvSpPr>
          <p:cNvPr id="25" name="Rectángulo: esquinas redondeadas 24">
            <a:extLst>
              <a:ext uri="{FF2B5EF4-FFF2-40B4-BE49-F238E27FC236}">
                <a16:creationId xmlns:a16="http://schemas.microsoft.com/office/drawing/2014/main" id="{47BC0429-1991-FFC1-9DA7-7A485C24DC75}"/>
              </a:ext>
            </a:extLst>
          </p:cNvPr>
          <p:cNvSpPr/>
          <p:nvPr/>
        </p:nvSpPr>
        <p:spPr>
          <a:xfrm>
            <a:off x="3530657" y="4445768"/>
            <a:ext cx="3655366" cy="136477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31" name="Imagen 30">
            <a:extLst>
              <a:ext uri="{FF2B5EF4-FFF2-40B4-BE49-F238E27FC236}">
                <a16:creationId xmlns:a16="http://schemas.microsoft.com/office/drawing/2014/main" id="{00161799-A3D2-BF18-FC49-DCE34D8D864A}"/>
              </a:ext>
            </a:extLst>
          </p:cNvPr>
          <p:cNvPicPr>
            <a:picLocks noChangeAspect="1"/>
          </p:cNvPicPr>
          <p:nvPr/>
        </p:nvPicPr>
        <p:blipFill>
          <a:blip r:embed="rId4"/>
          <a:stretch>
            <a:fillRect/>
          </a:stretch>
        </p:blipFill>
        <p:spPr>
          <a:xfrm>
            <a:off x="5862543" y="349704"/>
            <a:ext cx="3712786" cy="1926503"/>
          </a:xfrm>
          <a:prstGeom prst="rect">
            <a:avLst/>
          </a:prstGeom>
        </p:spPr>
      </p:pic>
    </p:spTree>
    <p:extLst>
      <p:ext uri="{BB962C8B-B14F-4D97-AF65-F5344CB8AC3E}">
        <p14:creationId xmlns:p14="http://schemas.microsoft.com/office/powerpoint/2010/main" val="26361108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99916-EC5B-3624-32A1-2FCE019F5418}"/>
              </a:ext>
            </a:extLst>
          </p:cNvPr>
          <p:cNvSpPr txBox="1">
            <a:spLocks/>
          </p:cNvSpPr>
          <p:nvPr/>
        </p:nvSpPr>
        <p:spPr>
          <a:xfrm>
            <a:off x="75222" y="-85689"/>
            <a:ext cx="12732126" cy="10541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rgbClr val="10069F"/>
                </a:solidFill>
                <a:latin typeface="+mj-lt"/>
                <a:ea typeface="Arial Black" panose="020B0604020202020204" pitchFamily="34" charset="0"/>
                <a:cs typeface="Arial Black" panose="020B0604020202020204" pitchFamily="34" charset="0"/>
              </a:defRPr>
            </a:lvl1pPr>
          </a:lstStyle>
          <a:p>
            <a:pPr>
              <a:lnSpc>
                <a:spcPct val="100000"/>
              </a:lnSpc>
              <a:spcBef>
                <a:spcPts val="0"/>
              </a:spcBef>
              <a:defRPr/>
            </a:pPr>
            <a:r>
              <a:rPr lang="en-US" sz="4000" dirty="0">
                <a:latin typeface="Arial" panose="020B0604020202020204"/>
                <a:ea typeface="+mn-ea"/>
                <a:cs typeface="+mn-cs"/>
                <a:sym typeface="Arial"/>
              </a:rPr>
              <a:t>Mi </a:t>
            </a:r>
            <a:r>
              <a:rPr lang="en-US" sz="4000" dirty="0" err="1">
                <a:latin typeface="Arial" panose="020B0604020202020204"/>
                <a:ea typeface="+mn-ea"/>
                <a:cs typeface="+mn-cs"/>
                <a:sym typeface="Arial"/>
              </a:rPr>
              <a:t>Propuesta</a:t>
            </a:r>
            <a:endParaRPr lang="en-US" sz="4000" dirty="0">
              <a:latin typeface="Arial" panose="020B0604020202020204"/>
              <a:ea typeface="+mn-ea"/>
              <a:cs typeface="+mn-cs"/>
              <a:sym typeface="Arial"/>
            </a:endParaRPr>
          </a:p>
        </p:txBody>
      </p:sp>
      <p:sp>
        <p:nvSpPr>
          <p:cNvPr id="4" name="Rectángulo 3">
            <a:extLst>
              <a:ext uri="{FF2B5EF4-FFF2-40B4-BE49-F238E27FC236}">
                <a16:creationId xmlns:a16="http://schemas.microsoft.com/office/drawing/2014/main" id="{86B9362D-E089-95DB-B503-63FDB487D4CB}"/>
              </a:ext>
            </a:extLst>
          </p:cNvPr>
          <p:cNvSpPr/>
          <p:nvPr/>
        </p:nvSpPr>
        <p:spPr>
          <a:xfrm>
            <a:off x="25074" y="843857"/>
            <a:ext cx="12141852" cy="482129"/>
          </a:xfrm>
          <a:prstGeom prst="rect">
            <a:avLst/>
          </a:prstGeom>
          <a:solidFill>
            <a:srgbClr val="10069F"/>
          </a:solidFill>
          <a:ln w="12700" cap="flat" cmpd="sng" algn="ctr">
            <a:solidFill>
              <a:srgbClr val="33D196"/>
            </a:solidFill>
            <a:prstDash val="dash"/>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rPr>
              <a:t>HIGH PERFORMANCE ACTIT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1" u="none" strike="noStrike" kern="0" cap="none" spc="0" normalizeH="0" baseline="0" noProof="0" dirty="0" err="1">
                <a:ln>
                  <a:noFill/>
                </a:ln>
                <a:solidFill>
                  <a:prstClr val="white"/>
                </a:solidFill>
                <a:effectLst/>
                <a:uLnTx/>
                <a:uFillTx/>
                <a:latin typeface="Arial" panose="020B0604020202020204"/>
                <a:ea typeface="+mn-ea"/>
                <a:cs typeface="72 Black" panose="020B0A04030603020204" pitchFamily="34" charset="0"/>
              </a:rPr>
              <a:t>Leading</a:t>
            </a:r>
            <a:r>
              <a:rPr kumimoji="0" lang="es-AR" sz="1400" b="0" i="1"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rPr>
              <a:t> </a:t>
            </a:r>
            <a:r>
              <a:rPr kumimoji="0" lang="es-AR" sz="1400" b="0" i="1" u="none" strike="noStrike" kern="0" cap="none" spc="0" normalizeH="0" baseline="0" noProof="0" dirty="0" err="1">
                <a:ln>
                  <a:noFill/>
                </a:ln>
                <a:solidFill>
                  <a:prstClr val="white"/>
                </a:solidFill>
                <a:effectLst/>
                <a:uLnTx/>
                <a:uFillTx/>
                <a:latin typeface="Arial" panose="020B0604020202020204"/>
                <a:ea typeface="+mn-ea"/>
                <a:cs typeface="72 Black" panose="020B0A04030603020204" pitchFamily="34" charset="0"/>
              </a:rPr>
              <a:t>the</a:t>
            </a:r>
            <a:r>
              <a:rPr kumimoji="0" lang="es-AR" sz="1400" b="0" i="1"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rPr>
              <a:t> </a:t>
            </a:r>
            <a:r>
              <a:rPr kumimoji="0" lang="es-AR" sz="1400" b="0" i="1" u="none" strike="noStrike" kern="0" cap="none" spc="0" normalizeH="0" baseline="0" noProof="0" dirty="0" err="1">
                <a:ln>
                  <a:noFill/>
                </a:ln>
                <a:solidFill>
                  <a:prstClr val="white"/>
                </a:solidFill>
                <a:effectLst/>
                <a:uLnTx/>
                <a:uFillTx/>
                <a:latin typeface="Arial" panose="020B0604020202020204"/>
                <a:ea typeface="+mn-ea"/>
                <a:cs typeface="72 Black" panose="020B0A04030603020204" pitchFamily="34" charset="0"/>
              </a:rPr>
              <a:t>transforation</a:t>
            </a:r>
            <a:endParaRPr kumimoji="0" lang="es-AR" sz="1400" b="0" i="1"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endParaRPr>
          </a:p>
        </p:txBody>
      </p:sp>
      <p:sp>
        <p:nvSpPr>
          <p:cNvPr id="5" name="Rectángulo 4">
            <a:extLst>
              <a:ext uri="{FF2B5EF4-FFF2-40B4-BE49-F238E27FC236}">
                <a16:creationId xmlns:a16="http://schemas.microsoft.com/office/drawing/2014/main" id="{D21F4427-86B7-E854-765E-3711E2CE70E7}"/>
              </a:ext>
            </a:extLst>
          </p:cNvPr>
          <p:cNvSpPr/>
          <p:nvPr/>
        </p:nvSpPr>
        <p:spPr>
          <a:xfrm>
            <a:off x="0" y="1461351"/>
            <a:ext cx="12192000" cy="489539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CuadroTexto 5">
            <a:extLst>
              <a:ext uri="{FF2B5EF4-FFF2-40B4-BE49-F238E27FC236}">
                <a16:creationId xmlns:a16="http://schemas.microsoft.com/office/drawing/2014/main" id="{5AEF68B1-33EA-F546-CBA8-CB8CA9C99E19}"/>
              </a:ext>
            </a:extLst>
          </p:cNvPr>
          <p:cNvSpPr txBox="1"/>
          <p:nvPr/>
        </p:nvSpPr>
        <p:spPr>
          <a:xfrm>
            <a:off x="3452242" y="3372316"/>
            <a:ext cx="61087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0" name="Rectangle 33">
            <a:extLst>
              <a:ext uri="{FF2B5EF4-FFF2-40B4-BE49-F238E27FC236}">
                <a16:creationId xmlns:a16="http://schemas.microsoft.com/office/drawing/2014/main" id="{45BF0D58-7EF9-D66D-D19E-A3C2A57E37C8}"/>
              </a:ext>
            </a:extLst>
          </p:cNvPr>
          <p:cNvSpPr/>
          <p:nvPr/>
        </p:nvSpPr>
        <p:spPr>
          <a:xfrm>
            <a:off x="354701" y="1558614"/>
            <a:ext cx="7598368" cy="4700867"/>
          </a:xfrm>
          <a:prstGeom prst="rect">
            <a:avLst/>
          </a:prstGeom>
          <a:solidFill>
            <a:srgbClr val="10069F"/>
          </a:solidFill>
          <a:ln w="12700" cap="flat" cmpd="sng" algn="ctr">
            <a:solidFill>
              <a:srgbClr val="00B050"/>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2" name="CuadroTexto 11">
            <a:extLst>
              <a:ext uri="{FF2B5EF4-FFF2-40B4-BE49-F238E27FC236}">
                <a16:creationId xmlns:a16="http://schemas.microsoft.com/office/drawing/2014/main" id="{7D39EFB9-FAA5-2BB7-DC5E-A87B4D8AF08D}"/>
              </a:ext>
            </a:extLst>
          </p:cNvPr>
          <p:cNvSpPr txBox="1"/>
          <p:nvPr/>
        </p:nvSpPr>
        <p:spPr>
          <a:xfrm>
            <a:off x="473548" y="2865684"/>
            <a:ext cx="7365090" cy="2086725"/>
          </a:xfrm>
          <a:prstGeom prst="rect">
            <a:avLst/>
          </a:prstGeom>
          <a:noFill/>
        </p:spPr>
        <p:txBody>
          <a:bodyPr wrap="square">
            <a:spAutoFit/>
          </a:bodyPr>
          <a:lstStyle/>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lang="es-AR" sz="2400" spc="140" dirty="0">
                <a:solidFill>
                  <a:schemeClr val="bg1"/>
                </a:solidFill>
                <a:latin typeface="Corbel"/>
              </a:rPr>
              <a:t>Te invito a que juntos comencemos a recorrer un camino que te permita, en corto tiempo, alcanzar aquellas metas que desees, y si aun no tenes en claro tu propósito de vida o tus objetivos, te propongo poderlos descubrir a través de un programa que se adapte a tus expectativas</a:t>
            </a:r>
            <a:endParaRPr lang="en-US" sz="2400" spc="140" dirty="0">
              <a:solidFill>
                <a:schemeClr val="bg1"/>
              </a:solidFill>
              <a:latin typeface="Corbel"/>
              <a:sym typeface="Arial"/>
            </a:endParaRPr>
          </a:p>
        </p:txBody>
      </p:sp>
      <p:sp>
        <p:nvSpPr>
          <p:cNvPr id="16" name="Elipse 15">
            <a:extLst>
              <a:ext uri="{FF2B5EF4-FFF2-40B4-BE49-F238E27FC236}">
                <a16:creationId xmlns:a16="http://schemas.microsoft.com/office/drawing/2014/main" id="{D443A33F-9934-8EE5-D5FB-A1447ECF2107}"/>
              </a:ext>
            </a:extLst>
          </p:cNvPr>
          <p:cNvSpPr/>
          <p:nvPr/>
        </p:nvSpPr>
        <p:spPr>
          <a:xfrm>
            <a:off x="9105032" y="2589479"/>
            <a:ext cx="1935005" cy="1935005"/>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8" name="CuadroTexto 17">
            <a:extLst>
              <a:ext uri="{FF2B5EF4-FFF2-40B4-BE49-F238E27FC236}">
                <a16:creationId xmlns:a16="http://schemas.microsoft.com/office/drawing/2014/main" id="{8F8D35F7-645F-99A3-E858-E644BF15E709}"/>
              </a:ext>
            </a:extLst>
          </p:cNvPr>
          <p:cNvSpPr txBox="1"/>
          <p:nvPr/>
        </p:nvSpPr>
        <p:spPr>
          <a:xfrm>
            <a:off x="6374641" y="3166080"/>
            <a:ext cx="7409468" cy="840230"/>
          </a:xfrm>
          <a:prstGeom prst="rect">
            <a:avLst/>
          </a:prstGeom>
          <a:noFill/>
        </p:spPr>
        <p:txBody>
          <a:bodyPr wrap="square">
            <a:spAutoFit/>
          </a:bodyPr>
          <a:lstStyle/>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ES" sz="1800" b="1" i="0" u="none" strike="noStrike" kern="1200" cap="none" spc="0" normalizeH="0" baseline="0" noProof="0" dirty="0">
                <a:ln>
                  <a:noFill/>
                </a:ln>
                <a:solidFill>
                  <a:srgbClr val="0000CC"/>
                </a:solidFill>
                <a:effectLst/>
                <a:uLnTx/>
                <a:uFillTx/>
                <a:latin typeface="Calibri" panose="020F0502020204030204"/>
                <a:ea typeface="+mn-ea"/>
                <a:cs typeface="+mn-cs"/>
              </a:rPr>
              <a:t>ACHIEVING</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ES" sz="1800" b="1" i="0" u="none" strike="noStrike" kern="1200" cap="none" spc="0" normalizeH="0" baseline="0" noProof="0" dirty="0">
                <a:ln>
                  <a:noFill/>
                </a:ln>
                <a:solidFill>
                  <a:srgbClr val="0000CC"/>
                </a:solidFill>
                <a:effectLst/>
                <a:uLnTx/>
                <a:uFillTx/>
                <a:latin typeface="Calibri" panose="020F0502020204030204"/>
                <a:ea typeface="+mn-ea"/>
                <a:cs typeface="+mn-cs"/>
              </a:rPr>
              <a:t>CHALLENGING</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ES" sz="1800" b="1" i="0" u="none" strike="noStrike" kern="1200" cap="none" spc="0" normalizeH="0" baseline="0" noProof="0" dirty="0">
                <a:ln>
                  <a:noFill/>
                </a:ln>
                <a:solidFill>
                  <a:srgbClr val="0000CC"/>
                </a:solidFill>
                <a:effectLst/>
                <a:uLnTx/>
                <a:uFillTx/>
                <a:latin typeface="Calibri" panose="020F0502020204030204"/>
                <a:ea typeface="+mn-ea"/>
                <a:cs typeface="+mn-cs"/>
              </a:rPr>
              <a:t>GOALS</a:t>
            </a:r>
            <a:endParaRPr lang="es-AR" dirty="0"/>
          </a:p>
        </p:txBody>
      </p:sp>
      <p:sp>
        <p:nvSpPr>
          <p:cNvPr id="20" name="Isosceles Triangle 10">
            <a:extLst>
              <a:ext uri="{FF2B5EF4-FFF2-40B4-BE49-F238E27FC236}">
                <a16:creationId xmlns:a16="http://schemas.microsoft.com/office/drawing/2014/main" id="{FDC68BA1-1290-CBD6-3781-33734D22183D}"/>
              </a:ext>
            </a:extLst>
          </p:cNvPr>
          <p:cNvSpPr/>
          <p:nvPr/>
        </p:nvSpPr>
        <p:spPr>
          <a:xfrm rot="5400000" flipH="1">
            <a:off x="5957336" y="3611721"/>
            <a:ext cx="4700868" cy="570840"/>
          </a:xfrm>
          <a:prstGeom prst="triangle">
            <a:avLst/>
          </a:prstGeom>
          <a:solidFill>
            <a:srgbClr val="10069F"/>
          </a:solidFill>
          <a:ln w="12700" cap="flat" cmpd="sng" algn="ctr">
            <a:solidFill>
              <a:srgbClr val="10069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R"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8" name="Elipse 7">
            <a:extLst>
              <a:ext uri="{FF2B5EF4-FFF2-40B4-BE49-F238E27FC236}">
                <a16:creationId xmlns:a16="http://schemas.microsoft.com/office/drawing/2014/main" id="{94C0DBA9-B23C-A298-DCB5-4FFF0DED5A98}"/>
              </a:ext>
            </a:extLst>
          </p:cNvPr>
          <p:cNvSpPr/>
          <p:nvPr/>
        </p:nvSpPr>
        <p:spPr>
          <a:xfrm rot="21014482">
            <a:off x="8948069" y="4367333"/>
            <a:ext cx="2543075" cy="1786817"/>
          </a:xfrm>
          <a:prstGeom prst="ellipse">
            <a:avLst/>
          </a:prstGeom>
          <a:blipFill rotWithShape="1">
            <a:blip r:embed="rId2">
              <a:extLst>
                <a:ext uri="{BEBA8EAE-BF5A-486C-A8C5-ECC9F3942E4B}">
                  <a14:imgProps xmlns:a14="http://schemas.microsoft.com/office/drawing/2010/main">
                    <a14:imgLayer r:embed="rId3">
                      <a14:imgEffect>
                        <a14:saturation sat="0"/>
                      </a14:imgEffect>
                    </a14:imgLayer>
                  </a14:imgProps>
                </a:ext>
              </a:extLst>
            </a:blip>
            <a:srcRect/>
            <a:stretch>
              <a:fillRect l="-45000" r="-45000"/>
            </a:stretch>
          </a:blipFill>
          <a:ln w="28575">
            <a:solidFill>
              <a:srgbClr val="00B05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9" name="CuadroTexto 8">
            <a:extLst>
              <a:ext uri="{FF2B5EF4-FFF2-40B4-BE49-F238E27FC236}">
                <a16:creationId xmlns:a16="http://schemas.microsoft.com/office/drawing/2014/main" id="{16FF5B44-8E7A-A27E-FC74-00B48880EB11}"/>
              </a:ext>
            </a:extLst>
          </p:cNvPr>
          <p:cNvSpPr txBox="1"/>
          <p:nvPr/>
        </p:nvSpPr>
        <p:spPr>
          <a:xfrm rot="20608560">
            <a:off x="9728669" y="4576115"/>
            <a:ext cx="1702333" cy="646331"/>
          </a:xfrm>
          <a:prstGeom prst="rect">
            <a:avLst/>
          </a:prstGeom>
          <a:noFill/>
        </p:spPr>
        <p:txBody>
          <a:bodyPr wrap="square">
            <a:spAutoFit/>
          </a:bodyPr>
          <a:lstStyle/>
          <a:p>
            <a:r>
              <a:rPr lang="es-ES" dirty="0">
                <a:solidFill>
                  <a:schemeClr val="bg2">
                    <a:lumMod val="50000"/>
                  </a:schemeClr>
                </a:solidFill>
                <a:latin typeface="Amasis MT Pro Medium" panose="02040604050005020304" pitchFamily="18" charset="0"/>
                <a:cs typeface="72 Black" panose="020B0A04030603020204" pitchFamily="34" charset="0"/>
              </a:rPr>
              <a:t>YOUR</a:t>
            </a:r>
          </a:p>
          <a:p>
            <a:r>
              <a:rPr lang="es-ES" dirty="0">
                <a:solidFill>
                  <a:schemeClr val="bg2">
                    <a:lumMod val="50000"/>
                  </a:schemeClr>
                </a:solidFill>
                <a:latin typeface="Amasis MT Pro Medium" panose="02040604050005020304" pitchFamily="18" charset="0"/>
                <a:cs typeface="72 Black" panose="020B0A04030603020204" pitchFamily="34" charset="0"/>
              </a:rPr>
              <a:t>Full </a:t>
            </a:r>
            <a:r>
              <a:rPr lang="es-ES" dirty="0" err="1">
                <a:solidFill>
                  <a:schemeClr val="bg2">
                    <a:lumMod val="50000"/>
                  </a:schemeClr>
                </a:solidFill>
                <a:latin typeface="Amasis MT Pro Medium" panose="02040604050005020304" pitchFamily="18" charset="0"/>
                <a:cs typeface="72 Black" panose="020B0A04030603020204" pitchFamily="34" charset="0"/>
              </a:rPr>
              <a:t>Potential</a:t>
            </a:r>
            <a:endParaRPr lang="en-US" dirty="0">
              <a:solidFill>
                <a:schemeClr val="bg2">
                  <a:lumMod val="50000"/>
                </a:schemeClr>
              </a:solidFill>
              <a:latin typeface="Amasis MT Pro Medium" panose="02040604050005020304" pitchFamily="18" charset="0"/>
              <a:cs typeface="72 Black" panose="020B0A04030603020204" pitchFamily="34" charset="0"/>
            </a:endParaRPr>
          </a:p>
        </p:txBody>
      </p:sp>
      <p:sp>
        <p:nvSpPr>
          <p:cNvPr id="11" name="Flecha: curvada hacia arriba 10">
            <a:extLst>
              <a:ext uri="{FF2B5EF4-FFF2-40B4-BE49-F238E27FC236}">
                <a16:creationId xmlns:a16="http://schemas.microsoft.com/office/drawing/2014/main" id="{3D8C1939-C563-CF42-2DAE-7304EF3081F7}"/>
              </a:ext>
            </a:extLst>
          </p:cNvPr>
          <p:cNvSpPr/>
          <p:nvPr/>
        </p:nvSpPr>
        <p:spPr>
          <a:xfrm rot="20663555">
            <a:off x="9046357" y="5185911"/>
            <a:ext cx="2857034" cy="887842"/>
          </a:xfrm>
          <a:prstGeom prst="curved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2613042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Marcador de posición de imagen 11" descr="Manos que se unen en un círculo">
            <a:extLst>
              <a:ext uri="{FF2B5EF4-FFF2-40B4-BE49-F238E27FC236}">
                <a16:creationId xmlns:a16="http://schemas.microsoft.com/office/drawing/2014/main" id="{0279D2A0-4078-433D-7EDF-D4697D229A31}"/>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9780588" cy="6804025"/>
          </a:xfrm>
          <a:prstGeom prst="rect">
            <a:avLst/>
          </a:prstGeom>
          <a:solidFill>
            <a:srgbClr val="FFFFFF">
              <a:lumMod val="85000"/>
            </a:srgbClr>
          </a:solidFill>
        </p:spPr>
      </p:pic>
      <p:sp>
        <p:nvSpPr>
          <p:cNvPr id="9" name="Título 2">
            <a:extLst>
              <a:ext uri="{FF2B5EF4-FFF2-40B4-BE49-F238E27FC236}">
                <a16:creationId xmlns:a16="http://schemas.microsoft.com/office/drawing/2014/main" id="{9471083A-98D2-8F37-7493-9C680DF70067}"/>
              </a:ext>
            </a:extLst>
          </p:cNvPr>
          <p:cNvSpPr txBox="1">
            <a:spLocks/>
          </p:cNvSpPr>
          <p:nvPr/>
        </p:nvSpPr>
        <p:spPr>
          <a:xfrm>
            <a:off x="3200400" y="2811053"/>
            <a:ext cx="8991600" cy="1261295"/>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es-ES" sz="5200" b="1" i="0" u="none" strike="noStrike" kern="1200" cap="none" spc="-300" normalizeH="0" baseline="0" noProof="0" dirty="0">
                <a:ln>
                  <a:noFill/>
                </a:ln>
                <a:solidFill>
                  <a:srgbClr val="0000CC"/>
                </a:solidFill>
                <a:effectLst/>
                <a:uLnTx/>
                <a:uFillTx/>
                <a:latin typeface="Corbel"/>
                <a:ea typeface="+mj-ea"/>
                <a:cs typeface="+mj-cs"/>
              </a:rPr>
              <a:t>Método </a:t>
            </a:r>
            <a:r>
              <a:rPr kumimoji="0" lang="es-ES" sz="5200" b="1" i="0" u="none" strike="noStrike" kern="1200" cap="none" spc="-300" normalizeH="0" baseline="0" noProof="0" dirty="0">
                <a:ln>
                  <a:noFill/>
                </a:ln>
                <a:solidFill>
                  <a:srgbClr val="FF3399"/>
                </a:solidFill>
                <a:effectLst/>
                <a:uLnTx/>
                <a:uFillTx/>
                <a:latin typeface="Corbel"/>
                <a:ea typeface="+mj-ea"/>
                <a:cs typeface="+mj-cs"/>
              </a:rPr>
              <a:t>CoMe</a:t>
            </a:r>
            <a:r>
              <a:rPr lang="es-ES" sz="5200" dirty="0">
                <a:solidFill>
                  <a:srgbClr val="FF3399"/>
                </a:solidFill>
                <a:latin typeface="Corbel"/>
              </a:rPr>
              <a:t>-</a:t>
            </a:r>
            <a:r>
              <a:rPr kumimoji="0" lang="es-ES" sz="5200" b="1" i="0" u="none" strike="noStrike" kern="1200" cap="none" spc="-300" normalizeH="0" baseline="0" noProof="0" dirty="0">
                <a:ln>
                  <a:noFill/>
                </a:ln>
                <a:solidFill>
                  <a:srgbClr val="FF3399"/>
                </a:solidFill>
                <a:effectLst/>
                <a:uLnTx/>
                <a:uFillTx/>
                <a:latin typeface="Corbel"/>
                <a:ea typeface="+mj-ea"/>
                <a:cs typeface="+mj-cs"/>
              </a:rPr>
              <a:t>ON</a:t>
            </a:r>
            <a:br>
              <a:rPr kumimoji="0" lang="es-ES" sz="5200" b="1" i="0" u="none" strike="noStrike" kern="1200" cap="none" spc="-300" normalizeH="0" baseline="0" noProof="0" dirty="0">
                <a:ln>
                  <a:noFill/>
                </a:ln>
                <a:solidFill>
                  <a:srgbClr val="0000CC"/>
                </a:solidFill>
                <a:effectLst/>
                <a:uLnTx/>
                <a:uFillTx/>
                <a:latin typeface="Corbel"/>
                <a:ea typeface="+mj-ea"/>
                <a:cs typeface="+mj-cs"/>
              </a:rPr>
            </a:br>
            <a:r>
              <a:rPr kumimoji="0" lang="es-ES" sz="5200" b="1" i="0" u="none" strike="noStrike" kern="1200" cap="none" spc="-300" normalizeH="0" baseline="0" noProof="0" dirty="0">
                <a:ln>
                  <a:noFill/>
                </a:ln>
                <a:solidFill>
                  <a:srgbClr val="0000CC"/>
                </a:solidFill>
                <a:effectLst/>
                <a:uLnTx/>
                <a:uFillTx/>
                <a:latin typeface="Corbel"/>
                <a:ea typeface="+mj-ea"/>
                <a:cs typeface="+mj-cs"/>
              </a:rPr>
              <a:t>                                                 </a:t>
            </a:r>
            <a:r>
              <a:rPr kumimoji="0" lang="es-ES" sz="3200" b="1" i="0" u="none" strike="noStrike" kern="1200" cap="none" spc="-300" normalizeH="0" baseline="0" noProof="0" dirty="0">
                <a:ln>
                  <a:noFill/>
                </a:ln>
                <a:solidFill>
                  <a:srgbClr val="0000CC"/>
                </a:solidFill>
                <a:effectLst/>
                <a:uLnTx/>
                <a:uFillTx/>
                <a:latin typeface="Corbel"/>
                <a:ea typeface="+mj-ea"/>
                <a:cs typeface="+mj-cs"/>
              </a:rPr>
              <a:t>A la Connie Clark </a:t>
            </a:r>
          </a:p>
          <a:p>
            <a:pPr marL="0" marR="0" lvl="0" indent="0" algn="ctr" defTabSz="914400" rtl="0" eaLnBrk="1" fontAlgn="auto" latinLnBrk="0" hangingPunct="1">
              <a:lnSpc>
                <a:spcPct val="70000"/>
              </a:lnSpc>
              <a:spcBef>
                <a:spcPct val="0"/>
              </a:spcBef>
              <a:spcAft>
                <a:spcPts val="0"/>
              </a:spcAft>
              <a:buClrTx/>
              <a:buSzTx/>
              <a:buFontTx/>
              <a:buNone/>
              <a:tabLst/>
              <a:defRPr/>
            </a:pPr>
            <a:endParaRPr kumimoji="0" lang="es-ES" sz="3200" b="1" i="0" u="none" strike="noStrike" kern="1200" cap="none" spc="-300" normalizeH="0" baseline="0" noProof="0" dirty="0">
              <a:ln>
                <a:noFill/>
              </a:ln>
              <a:solidFill>
                <a:srgbClr val="0000CC"/>
              </a:solidFill>
              <a:effectLst/>
              <a:uLnTx/>
              <a:uFillTx/>
              <a:latin typeface="Corbel"/>
              <a:ea typeface="+mj-ea"/>
              <a:cs typeface="+mj-cs"/>
            </a:endParaRPr>
          </a:p>
        </p:txBody>
      </p:sp>
      <p:sp>
        <p:nvSpPr>
          <p:cNvPr id="10" name="Subtítulo 3">
            <a:extLst>
              <a:ext uri="{FF2B5EF4-FFF2-40B4-BE49-F238E27FC236}">
                <a16:creationId xmlns:a16="http://schemas.microsoft.com/office/drawing/2014/main" id="{12B1270C-F633-9796-D54A-4B18D5CA9451}"/>
              </a:ext>
            </a:extLst>
          </p:cNvPr>
          <p:cNvSpPr txBox="1">
            <a:spLocks/>
          </p:cNvSpPr>
          <p:nvPr/>
        </p:nvSpPr>
        <p:spPr>
          <a:xfrm>
            <a:off x="3200400" y="4061039"/>
            <a:ext cx="6580188" cy="892624"/>
          </a:xfrm>
          <a:prstGeom prst="rect">
            <a:avLst/>
          </a:prstGeom>
          <a:solidFill>
            <a:srgbClr val="0000CC">
              <a:alpha val="80000"/>
            </a:srgbClr>
          </a:solidFill>
        </p:spPr>
        <p:txBody>
          <a:bodyPr vert="horz" lIns="180000" tIns="180000" rIns="180000" bIns="180000" rtlCol="0">
            <a:noAutofit/>
          </a:bodyPr>
          <a:lstStyle>
            <a:lvl1pPr marL="0" indent="0" algn="r" defTabSz="914400" rtl="0" eaLnBrk="1" latinLnBrk="0" hangingPunct="1">
              <a:lnSpc>
                <a:spcPct val="90000"/>
              </a:lnSpc>
              <a:spcBef>
                <a:spcPts val="1000"/>
              </a:spcBef>
              <a:buFont typeface="Arial" panose="020B0604020202020204" pitchFamily="34" charset="0"/>
              <a:buNone/>
              <a:defRPr lang="en-ZA" sz="1800" kern="1200" dirty="0">
                <a:solidFill>
                  <a:schemeClr val="bg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1400" b="0" i="0" u="none" strike="noStrike" kern="1200" cap="none" spc="0" normalizeH="0" baseline="0" noProof="0" dirty="0">
              <a:ln>
                <a:noFill/>
              </a:ln>
              <a:solidFill>
                <a:srgbClr val="FFFFFF"/>
              </a:solidFill>
              <a:effectLst/>
              <a:uLnTx/>
              <a:uFillTx/>
              <a:latin typeface="Candara"/>
              <a:ea typeface="+mn-ea"/>
              <a:cs typeface="+mn-cs"/>
            </a:endParaRPr>
          </a:p>
        </p:txBody>
      </p:sp>
      <p:sp>
        <p:nvSpPr>
          <p:cNvPr id="11" name="Cuadro de texto 50">
            <a:extLst>
              <a:ext uri="{FF2B5EF4-FFF2-40B4-BE49-F238E27FC236}">
                <a16:creationId xmlns:a16="http://schemas.microsoft.com/office/drawing/2014/main" id="{1833051D-5018-DEC2-8B44-9059B75ED28A}"/>
              </a:ext>
            </a:extLst>
          </p:cNvPr>
          <p:cNvSpPr txBox="1"/>
          <p:nvPr/>
        </p:nvSpPr>
        <p:spPr>
          <a:xfrm>
            <a:off x="9745708" y="4404620"/>
            <a:ext cx="2446292" cy="1713789"/>
          </a:xfrm>
          <a:prstGeom prst="rect">
            <a:avLst/>
          </a:prstGeom>
          <a:noFill/>
        </p:spPr>
        <p:txBody>
          <a:bodyPr wrap="square" tIns="108000" bIns="0" rtlCol="0" anchor="ctr">
            <a:spAutoFit/>
          </a:bodyPr>
          <a:lstStyle/>
          <a:p>
            <a:pPr algn="ctr">
              <a:lnSpc>
                <a:spcPct val="150000"/>
              </a:lnSpc>
            </a:pPr>
            <a:r>
              <a:rPr lang="es-ES" sz="2400" spc="140" dirty="0">
                <a:solidFill>
                  <a:prstClr val="black">
                    <a:lumMod val="75000"/>
                    <a:lumOff val="25000"/>
                  </a:prstClr>
                </a:solidFill>
                <a:latin typeface="Corbel"/>
              </a:rPr>
              <a:t>Tu camino hacia Tu Transformación</a:t>
            </a:r>
            <a:endParaRPr lang="es-ES" spc="140" dirty="0">
              <a:solidFill>
                <a:prstClr val="black">
                  <a:lumMod val="75000"/>
                  <a:lumOff val="25000"/>
                </a:prstClr>
              </a:solidFill>
              <a:latin typeface="Corbel"/>
            </a:endParaRPr>
          </a:p>
        </p:txBody>
      </p:sp>
      <p:sp>
        <p:nvSpPr>
          <p:cNvPr id="2" name="CuadroTexto 1">
            <a:extLst>
              <a:ext uri="{FF2B5EF4-FFF2-40B4-BE49-F238E27FC236}">
                <a16:creationId xmlns:a16="http://schemas.microsoft.com/office/drawing/2014/main" id="{A465A6E4-652C-2DC7-86B4-5B8234941BEF}"/>
              </a:ext>
            </a:extLst>
          </p:cNvPr>
          <p:cNvSpPr txBox="1"/>
          <p:nvPr/>
        </p:nvSpPr>
        <p:spPr>
          <a:xfrm>
            <a:off x="3563655" y="4422874"/>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 name="CuadroTexto 2">
            <a:extLst>
              <a:ext uri="{FF2B5EF4-FFF2-40B4-BE49-F238E27FC236}">
                <a16:creationId xmlns:a16="http://schemas.microsoft.com/office/drawing/2014/main" id="{41CDFD70-DE50-1A2C-3F4B-D3109A439ABD}"/>
              </a:ext>
            </a:extLst>
          </p:cNvPr>
          <p:cNvSpPr txBox="1"/>
          <p:nvPr/>
        </p:nvSpPr>
        <p:spPr>
          <a:xfrm>
            <a:off x="3814176" y="4233804"/>
            <a:ext cx="2517731" cy="3416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b="0" i="1" u="none" strike="noStrike" kern="1200" cap="none" spc="0" normalizeH="0" baseline="0" noProof="0" dirty="0">
                <a:ln>
                  <a:noFill/>
                </a:ln>
                <a:solidFill>
                  <a:srgbClr val="FFFFFF"/>
                </a:solidFill>
                <a:effectLst/>
                <a:uLnTx/>
                <a:uFillTx/>
                <a:latin typeface="Candara"/>
                <a:ea typeface="+mn-ea"/>
                <a:cs typeface="+mn-cs"/>
              </a:rPr>
              <a:t>Consultora en</a:t>
            </a:r>
          </a:p>
        </p:txBody>
      </p:sp>
    </p:spTree>
    <p:extLst>
      <p:ext uri="{BB962C8B-B14F-4D97-AF65-F5344CB8AC3E}">
        <p14:creationId xmlns:p14="http://schemas.microsoft.com/office/powerpoint/2010/main" val="25560849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Marcador de posición de imagen 11" descr="Manos que se unen en un círculo">
            <a:extLst>
              <a:ext uri="{FF2B5EF4-FFF2-40B4-BE49-F238E27FC236}">
                <a16:creationId xmlns:a16="http://schemas.microsoft.com/office/drawing/2014/main" id="{0279D2A0-4078-433D-7EDF-D4697D229A31}"/>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9780588" cy="6804025"/>
          </a:xfrm>
          <a:prstGeom prst="rect">
            <a:avLst/>
          </a:prstGeom>
          <a:solidFill>
            <a:srgbClr val="FFFFFF">
              <a:lumMod val="85000"/>
            </a:srgbClr>
          </a:solidFill>
        </p:spPr>
      </p:pic>
      <p:sp>
        <p:nvSpPr>
          <p:cNvPr id="9" name="Título 2">
            <a:extLst>
              <a:ext uri="{FF2B5EF4-FFF2-40B4-BE49-F238E27FC236}">
                <a16:creationId xmlns:a16="http://schemas.microsoft.com/office/drawing/2014/main" id="{9471083A-98D2-8F37-7493-9C680DF70067}"/>
              </a:ext>
            </a:extLst>
          </p:cNvPr>
          <p:cNvSpPr txBox="1">
            <a:spLocks/>
          </p:cNvSpPr>
          <p:nvPr/>
        </p:nvSpPr>
        <p:spPr>
          <a:xfrm>
            <a:off x="3200400" y="2811053"/>
            <a:ext cx="8991600" cy="1261295"/>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es-ES" sz="5200" b="1" i="0" u="none" strike="noStrike" kern="1200" cap="none" spc="-300" normalizeH="0" baseline="0" noProof="0" dirty="0">
                <a:ln>
                  <a:noFill/>
                </a:ln>
                <a:solidFill>
                  <a:srgbClr val="0000CC"/>
                </a:solidFill>
                <a:effectLst/>
                <a:uLnTx/>
                <a:uFillTx/>
                <a:latin typeface="Corbel"/>
                <a:ea typeface="+mj-ea"/>
                <a:cs typeface="+mj-cs"/>
              </a:rPr>
              <a:t>Método </a:t>
            </a:r>
            <a:r>
              <a:rPr kumimoji="0" lang="es-ES" sz="5200" b="1" i="0" u="none" strike="noStrike" kern="1200" cap="none" spc="-300" normalizeH="0" baseline="0" noProof="0" dirty="0">
                <a:ln>
                  <a:noFill/>
                </a:ln>
                <a:solidFill>
                  <a:srgbClr val="FF3399"/>
                </a:solidFill>
                <a:effectLst/>
                <a:uLnTx/>
                <a:uFillTx/>
                <a:latin typeface="Corbel"/>
                <a:ea typeface="+mj-ea"/>
                <a:cs typeface="+mj-cs"/>
              </a:rPr>
              <a:t>LFT</a:t>
            </a:r>
            <a:br>
              <a:rPr kumimoji="0" lang="es-ES" sz="5200" b="1" i="0" u="none" strike="noStrike" kern="1200" cap="none" spc="-300" normalizeH="0" baseline="0" noProof="0" dirty="0">
                <a:ln>
                  <a:noFill/>
                </a:ln>
                <a:solidFill>
                  <a:srgbClr val="0000CC"/>
                </a:solidFill>
                <a:effectLst/>
                <a:uLnTx/>
                <a:uFillTx/>
                <a:latin typeface="Corbel"/>
                <a:ea typeface="+mj-ea"/>
                <a:cs typeface="+mj-cs"/>
              </a:rPr>
            </a:br>
            <a:r>
              <a:rPr kumimoji="0" lang="es-ES" sz="5200" b="1" i="0" u="none" strike="noStrike" kern="1200" cap="none" spc="-300" normalizeH="0" baseline="0" noProof="0" dirty="0">
                <a:ln>
                  <a:noFill/>
                </a:ln>
                <a:solidFill>
                  <a:srgbClr val="0000CC"/>
                </a:solidFill>
                <a:effectLst/>
                <a:uLnTx/>
                <a:uFillTx/>
                <a:latin typeface="Corbel"/>
                <a:ea typeface="+mj-ea"/>
                <a:cs typeface="+mj-cs"/>
              </a:rPr>
              <a:t>                                                 </a:t>
            </a:r>
            <a:r>
              <a:rPr kumimoji="0" lang="es-ES" sz="3200" b="1" i="0" u="none" strike="noStrike" kern="1200" cap="none" spc="-300" normalizeH="0" baseline="0" noProof="0" dirty="0">
                <a:ln>
                  <a:noFill/>
                </a:ln>
                <a:solidFill>
                  <a:srgbClr val="0000CC"/>
                </a:solidFill>
                <a:effectLst/>
                <a:uLnTx/>
                <a:uFillTx/>
                <a:latin typeface="Corbel"/>
                <a:ea typeface="+mj-ea"/>
                <a:cs typeface="+mj-cs"/>
              </a:rPr>
              <a:t>A la Connie Clark </a:t>
            </a:r>
          </a:p>
          <a:p>
            <a:pPr marL="0" marR="0" lvl="0" indent="0" algn="ctr" defTabSz="914400" rtl="0" eaLnBrk="1" fontAlgn="auto" latinLnBrk="0" hangingPunct="1">
              <a:lnSpc>
                <a:spcPct val="70000"/>
              </a:lnSpc>
              <a:spcBef>
                <a:spcPct val="0"/>
              </a:spcBef>
              <a:spcAft>
                <a:spcPts val="0"/>
              </a:spcAft>
              <a:buClrTx/>
              <a:buSzTx/>
              <a:buFontTx/>
              <a:buNone/>
              <a:tabLst/>
              <a:defRPr/>
            </a:pPr>
            <a:endParaRPr kumimoji="0" lang="es-ES" sz="3200" b="1" i="0" u="none" strike="noStrike" kern="1200" cap="none" spc="-300" normalizeH="0" baseline="0" noProof="0" dirty="0">
              <a:ln>
                <a:noFill/>
              </a:ln>
              <a:solidFill>
                <a:srgbClr val="0000CC"/>
              </a:solidFill>
              <a:effectLst/>
              <a:uLnTx/>
              <a:uFillTx/>
              <a:latin typeface="Corbel"/>
              <a:ea typeface="+mj-ea"/>
              <a:cs typeface="+mj-cs"/>
            </a:endParaRPr>
          </a:p>
        </p:txBody>
      </p:sp>
      <p:sp>
        <p:nvSpPr>
          <p:cNvPr id="10" name="Subtítulo 3">
            <a:extLst>
              <a:ext uri="{FF2B5EF4-FFF2-40B4-BE49-F238E27FC236}">
                <a16:creationId xmlns:a16="http://schemas.microsoft.com/office/drawing/2014/main" id="{12B1270C-F633-9796-D54A-4B18D5CA9451}"/>
              </a:ext>
            </a:extLst>
          </p:cNvPr>
          <p:cNvSpPr txBox="1">
            <a:spLocks/>
          </p:cNvSpPr>
          <p:nvPr/>
        </p:nvSpPr>
        <p:spPr>
          <a:xfrm>
            <a:off x="3200400" y="4061039"/>
            <a:ext cx="6580188" cy="892624"/>
          </a:xfrm>
          <a:prstGeom prst="rect">
            <a:avLst/>
          </a:prstGeom>
          <a:solidFill>
            <a:srgbClr val="0000CC">
              <a:alpha val="80000"/>
            </a:srgbClr>
          </a:solidFill>
        </p:spPr>
        <p:txBody>
          <a:bodyPr vert="horz" lIns="180000" tIns="180000" rIns="180000" bIns="180000" rtlCol="0">
            <a:noAutofit/>
          </a:bodyPr>
          <a:lstStyle>
            <a:lvl1pPr marL="0" indent="0" algn="r" defTabSz="914400" rtl="0" eaLnBrk="1" latinLnBrk="0" hangingPunct="1">
              <a:lnSpc>
                <a:spcPct val="90000"/>
              </a:lnSpc>
              <a:spcBef>
                <a:spcPts val="1000"/>
              </a:spcBef>
              <a:buFont typeface="Arial" panose="020B0604020202020204" pitchFamily="34" charset="0"/>
              <a:buNone/>
              <a:defRPr lang="en-ZA" sz="1800" kern="1200" dirty="0">
                <a:solidFill>
                  <a:schemeClr val="bg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1400" b="0" i="0" u="none" strike="noStrike" kern="1200" cap="none" spc="0" normalizeH="0" baseline="0" noProof="0" dirty="0">
              <a:ln>
                <a:noFill/>
              </a:ln>
              <a:solidFill>
                <a:srgbClr val="FFFFFF"/>
              </a:solidFill>
              <a:effectLst/>
              <a:uLnTx/>
              <a:uFillTx/>
              <a:latin typeface="Candara"/>
              <a:ea typeface="+mn-ea"/>
              <a:cs typeface="+mn-cs"/>
            </a:endParaRPr>
          </a:p>
        </p:txBody>
      </p:sp>
      <p:sp>
        <p:nvSpPr>
          <p:cNvPr id="11" name="Cuadro de texto 50">
            <a:extLst>
              <a:ext uri="{FF2B5EF4-FFF2-40B4-BE49-F238E27FC236}">
                <a16:creationId xmlns:a16="http://schemas.microsoft.com/office/drawing/2014/main" id="{1833051D-5018-DEC2-8B44-9059B75ED28A}"/>
              </a:ext>
            </a:extLst>
          </p:cNvPr>
          <p:cNvSpPr txBox="1"/>
          <p:nvPr/>
        </p:nvSpPr>
        <p:spPr>
          <a:xfrm>
            <a:off x="9780588" y="4072348"/>
            <a:ext cx="2282808" cy="2267787"/>
          </a:xfrm>
          <a:prstGeom prst="rect">
            <a:avLst/>
          </a:prstGeom>
          <a:noFill/>
        </p:spPr>
        <p:txBody>
          <a:bodyPr wrap="square" tIns="108000" bIns="0" rtlCol="0" anchor="ctr">
            <a:spAutoFit/>
          </a:bodyPr>
          <a:lstStyle/>
          <a:p>
            <a:pPr algn="ctr">
              <a:lnSpc>
                <a:spcPct val="150000"/>
              </a:lnSpc>
            </a:pPr>
            <a:r>
              <a:rPr lang="es-ES" sz="2400" spc="140" dirty="0">
                <a:solidFill>
                  <a:prstClr val="black">
                    <a:lumMod val="75000"/>
                    <a:lumOff val="25000"/>
                  </a:prstClr>
                </a:solidFill>
                <a:latin typeface="Corbel"/>
              </a:rPr>
              <a:t>El camino hacia un Liderazgo Exitoso</a:t>
            </a:r>
            <a:endParaRPr lang="es-ES" spc="140" dirty="0">
              <a:solidFill>
                <a:prstClr val="black">
                  <a:lumMod val="75000"/>
                  <a:lumOff val="25000"/>
                </a:prstClr>
              </a:solidFill>
              <a:latin typeface="Corbel"/>
            </a:endParaRPr>
          </a:p>
        </p:txBody>
      </p:sp>
      <p:sp>
        <p:nvSpPr>
          <p:cNvPr id="2" name="CuadroTexto 1">
            <a:extLst>
              <a:ext uri="{FF2B5EF4-FFF2-40B4-BE49-F238E27FC236}">
                <a16:creationId xmlns:a16="http://schemas.microsoft.com/office/drawing/2014/main" id="{A465A6E4-652C-2DC7-86B4-5B8234941BEF}"/>
              </a:ext>
            </a:extLst>
          </p:cNvPr>
          <p:cNvSpPr txBox="1"/>
          <p:nvPr/>
        </p:nvSpPr>
        <p:spPr>
          <a:xfrm>
            <a:off x="3563655" y="4422874"/>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 name="CuadroTexto 2">
            <a:extLst>
              <a:ext uri="{FF2B5EF4-FFF2-40B4-BE49-F238E27FC236}">
                <a16:creationId xmlns:a16="http://schemas.microsoft.com/office/drawing/2014/main" id="{41CDFD70-DE50-1A2C-3F4B-D3109A439ABD}"/>
              </a:ext>
            </a:extLst>
          </p:cNvPr>
          <p:cNvSpPr txBox="1"/>
          <p:nvPr/>
        </p:nvSpPr>
        <p:spPr>
          <a:xfrm>
            <a:off x="3814176" y="4233804"/>
            <a:ext cx="2517731" cy="3416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b="0" i="1" u="none" strike="noStrike" kern="1200" cap="none" spc="0" normalizeH="0" baseline="0" noProof="0" dirty="0">
                <a:ln>
                  <a:noFill/>
                </a:ln>
                <a:solidFill>
                  <a:srgbClr val="FFFFFF"/>
                </a:solidFill>
                <a:effectLst/>
                <a:uLnTx/>
                <a:uFillTx/>
                <a:latin typeface="Candara"/>
                <a:ea typeface="+mn-ea"/>
                <a:cs typeface="+mn-cs"/>
              </a:rPr>
              <a:t>Consultora en</a:t>
            </a:r>
          </a:p>
        </p:txBody>
      </p:sp>
    </p:spTree>
    <p:extLst>
      <p:ext uri="{BB962C8B-B14F-4D97-AF65-F5344CB8AC3E}">
        <p14:creationId xmlns:p14="http://schemas.microsoft.com/office/powerpoint/2010/main" val="2226021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Liderazgo Transformacional</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
        <p:nvSpPr>
          <p:cNvPr id="3" name="CuadroTexto 2">
            <a:extLst>
              <a:ext uri="{FF2B5EF4-FFF2-40B4-BE49-F238E27FC236}">
                <a16:creationId xmlns:a16="http://schemas.microsoft.com/office/drawing/2014/main" id="{2F2D8F90-5626-85F5-D44D-9B050DAA83BF}"/>
              </a:ext>
            </a:extLst>
          </p:cNvPr>
          <p:cNvSpPr txBox="1"/>
          <p:nvPr/>
        </p:nvSpPr>
        <p:spPr>
          <a:xfrm>
            <a:off x="205555" y="2600065"/>
            <a:ext cx="8322839" cy="738664"/>
          </a:xfrm>
          <a:prstGeom prst="rect">
            <a:avLst/>
          </a:prstGeom>
          <a:noFill/>
        </p:spPr>
        <p:txBody>
          <a:bodyPr wrap="square">
            <a:spAutoFit/>
          </a:bodyPr>
          <a:lstStyle/>
          <a:p>
            <a:r>
              <a:rPr lang="es-ES" sz="2400" b="1" dirty="0">
                <a:latin typeface="-apple-system"/>
              </a:rPr>
              <a:t>XXX</a:t>
            </a:r>
          </a:p>
          <a:p>
            <a:endParaRPr lang="es-ES" dirty="0"/>
          </a:p>
        </p:txBody>
      </p:sp>
      <p:pic>
        <p:nvPicPr>
          <p:cNvPr id="5" name="Imagen 4">
            <a:extLst>
              <a:ext uri="{FF2B5EF4-FFF2-40B4-BE49-F238E27FC236}">
                <a16:creationId xmlns:a16="http://schemas.microsoft.com/office/drawing/2014/main" id="{C3BC075A-C806-B9D2-E3A3-759F103D037F}"/>
              </a:ext>
            </a:extLst>
          </p:cNvPr>
          <p:cNvPicPr>
            <a:picLocks noChangeAspect="1"/>
          </p:cNvPicPr>
          <p:nvPr/>
        </p:nvPicPr>
        <p:blipFill>
          <a:blip r:embed="rId3"/>
          <a:stretch>
            <a:fillRect/>
          </a:stretch>
        </p:blipFill>
        <p:spPr>
          <a:xfrm>
            <a:off x="-365760" y="2101506"/>
            <a:ext cx="6788499" cy="1562180"/>
          </a:xfrm>
          <a:prstGeom prst="rect">
            <a:avLst/>
          </a:prstGeom>
        </p:spPr>
      </p:pic>
      <p:sp>
        <p:nvSpPr>
          <p:cNvPr id="12" name="CuadroTexto 11">
            <a:extLst>
              <a:ext uri="{FF2B5EF4-FFF2-40B4-BE49-F238E27FC236}">
                <a16:creationId xmlns:a16="http://schemas.microsoft.com/office/drawing/2014/main" id="{E973EFAA-DA16-D1D2-D0EC-6C2D03FFF4AF}"/>
              </a:ext>
            </a:extLst>
          </p:cNvPr>
          <p:cNvSpPr txBox="1"/>
          <p:nvPr/>
        </p:nvSpPr>
        <p:spPr>
          <a:xfrm>
            <a:off x="392035" y="3765402"/>
            <a:ext cx="6315074" cy="1477328"/>
          </a:xfrm>
          <a:prstGeom prst="rect">
            <a:avLst/>
          </a:prstGeom>
          <a:noFill/>
        </p:spPr>
        <p:txBody>
          <a:bodyPr wrap="square">
            <a:spAutoFit/>
          </a:bodyPr>
          <a:lstStyle/>
          <a:p>
            <a:pPr algn="l">
              <a:buFont typeface="+mj-lt"/>
              <a:buAutoNum type="arabicPeriod"/>
            </a:pPr>
            <a:endParaRPr lang="es-ES" b="0" i="0" dirty="0">
              <a:solidFill>
                <a:srgbClr val="111111"/>
              </a:solidFill>
              <a:effectLst/>
              <a:latin typeface="-apple-system"/>
            </a:endParaRPr>
          </a:p>
          <a:p>
            <a:pPr marL="742950" lvl="1" indent="-285750" algn="l">
              <a:buFont typeface="+mj-lt"/>
              <a:buAutoNum type="arabicPeriod"/>
            </a:pPr>
            <a:r>
              <a:rPr lang="es-ES" b="0" i="0" dirty="0">
                <a:solidFill>
                  <a:srgbClr val="3C4043"/>
                </a:solidFill>
                <a:effectLst/>
                <a:latin typeface="Roboto" panose="02000000000000000000" pitchFamily="2" charset="0"/>
              </a:rPr>
              <a:t>¡El cambio comienza con el Liderazgo! Los líderes deben ser intencionales a la hora de crear experiencias que resulten en diferentes mentalidades del equipo en general.</a:t>
            </a:r>
            <a:endParaRPr lang="es-ES" b="0" i="0" dirty="0">
              <a:solidFill>
                <a:srgbClr val="111111"/>
              </a:solidFill>
              <a:effectLst/>
              <a:latin typeface="-apple-system"/>
            </a:endParaRPr>
          </a:p>
        </p:txBody>
      </p:sp>
      <p:pic>
        <p:nvPicPr>
          <p:cNvPr id="15" name="Imagen 14">
            <a:extLst>
              <a:ext uri="{FF2B5EF4-FFF2-40B4-BE49-F238E27FC236}">
                <a16:creationId xmlns:a16="http://schemas.microsoft.com/office/drawing/2014/main" id="{97DADCB1-8AF7-4BF4-9667-238BF2B037AC}"/>
              </a:ext>
            </a:extLst>
          </p:cNvPr>
          <p:cNvPicPr>
            <a:picLocks noChangeAspect="1"/>
          </p:cNvPicPr>
          <p:nvPr/>
        </p:nvPicPr>
        <p:blipFill>
          <a:blip r:embed="rId4"/>
          <a:stretch>
            <a:fillRect/>
          </a:stretch>
        </p:blipFill>
        <p:spPr>
          <a:xfrm>
            <a:off x="7705725" y="95047"/>
            <a:ext cx="5074780" cy="3349557"/>
          </a:xfrm>
          <a:prstGeom prst="rect">
            <a:avLst/>
          </a:prstGeom>
        </p:spPr>
      </p:pic>
    </p:spTree>
    <p:extLst>
      <p:ext uri="{BB962C8B-B14F-4D97-AF65-F5344CB8AC3E}">
        <p14:creationId xmlns:p14="http://schemas.microsoft.com/office/powerpoint/2010/main" val="1308158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ítulo 3">
            <a:extLst>
              <a:ext uri="{FF2B5EF4-FFF2-40B4-BE49-F238E27FC236}">
                <a16:creationId xmlns:a16="http://schemas.microsoft.com/office/drawing/2014/main" id="{12B1270C-F633-9796-D54A-4B18D5CA9451}"/>
              </a:ext>
            </a:extLst>
          </p:cNvPr>
          <p:cNvSpPr txBox="1">
            <a:spLocks/>
          </p:cNvSpPr>
          <p:nvPr/>
        </p:nvSpPr>
        <p:spPr>
          <a:xfrm>
            <a:off x="0" y="6276108"/>
            <a:ext cx="12192000" cy="581891"/>
          </a:xfrm>
          <a:prstGeom prst="rect">
            <a:avLst/>
          </a:prstGeom>
          <a:solidFill>
            <a:srgbClr val="0000CC">
              <a:alpha val="80000"/>
            </a:srgbClr>
          </a:solidFill>
        </p:spPr>
        <p:txBody>
          <a:bodyPr vert="horz" lIns="180000" tIns="180000" rIns="180000" bIns="180000" rtlCol="0">
            <a:noAutofit/>
          </a:bodyPr>
          <a:lstStyle>
            <a:lvl1pPr marL="0" indent="0" algn="r" defTabSz="914400" rtl="0" eaLnBrk="1" latinLnBrk="0" hangingPunct="1">
              <a:lnSpc>
                <a:spcPct val="90000"/>
              </a:lnSpc>
              <a:spcBef>
                <a:spcPts val="1000"/>
              </a:spcBef>
              <a:buFont typeface="Arial" panose="020B0604020202020204" pitchFamily="34" charset="0"/>
              <a:buNone/>
              <a:defRPr lang="en-ZA" sz="1800" kern="1200" dirty="0">
                <a:solidFill>
                  <a:schemeClr val="bg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1600" b="0" i="1" u="none" strike="noStrike" kern="1200" cap="none" spc="0" normalizeH="0" baseline="0" noProof="0" dirty="0">
              <a:ln>
                <a:noFill/>
              </a:ln>
              <a:solidFill>
                <a:srgbClr val="FFFFFF"/>
              </a:solidFill>
              <a:effectLst/>
              <a:uLnTx/>
              <a:uFillTx/>
              <a:latin typeface="Candara"/>
              <a:ea typeface="+mn-ea"/>
              <a:cs typeface="+mn-cs"/>
            </a:endParaRPr>
          </a:p>
        </p:txBody>
      </p:sp>
      <p:sp>
        <p:nvSpPr>
          <p:cNvPr id="176" name="CaixaDeTexto 1">
            <a:extLst>
              <a:ext uri="{FF2B5EF4-FFF2-40B4-BE49-F238E27FC236}">
                <a16:creationId xmlns:a16="http://schemas.microsoft.com/office/drawing/2014/main" id="{7904F9E7-6A77-80B1-9CDB-2717F95B7975}"/>
              </a:ext>
            </a:extLst>
          </p:cNvPr>
          <p:cNvSpPr txBox="1"/>
          <p:nvPr/>
        </p:nvSpPr>
        <p:spPr>
          <a:xfrm>
            <a:off x="34180" y="50241"/>
            <a:ext cx="936725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srgbClr val="10069F"/>
                </a:solidFill>
                <a:effectLst/>
                <a:uLnTx/>
                <a:uFillTx/>
                <a:latin typeface="Arial" panose="020B0604020202020204"/>
                <a:ea typeface="+mn-ea"/>
                <a:cs typeface="+mn-cs"/>
              </a:rPr>
              <a:t>Metodología de Desarrollo</a:t>
            </a:r>
            <a:endParaRPr kumimoji="0" lang="en-US" sz="4000" b="0" i="1" u="none" strike="noStrike" kern="1200" cap="none" spc="0" normalizeH="0" baseline="0" noProof="0" dirty="0">
              <a:ln>
                <a:noFill/>
              </a:ln>
              <a:solidFill>
                <a:srgbClr val="FF0000"/>
              </a:solidFill>
              <a:effectLst/>
              <a:uLnTx/>
              <a:uFillTx/>
              <a:latin typeface="Arial" panose="020B0604020202020204"/>
              <a:ea typeface="+mn-ea"/>
              <a:cs typeface="+mn-cs"/>
            </a:endParaRPr>
          </a:p>
        </p:txBody>
      </p:sp>
      <p:sp>
        <p:nvSpPr>
          <p:cNvPr id="177" name="CuadroTexto 176">
            <a:extLst>
              <a:ext uri="{FF2B5EF4-FFF2-40B4-BE49-F238E27FC236}">
                <a16:creationId xmlns:a16="http://schemas.microsoft.com/office/drawing/2014/main" id="{17B6D0C4-6F94-BA62-2289-990E84E4C233}"/>
              </a:ext>
            </a:extLst>
          </p:cNvPr>
          <p:cNvSpPr txBox="1"/>
          <p:nvPr/>
        </p:nvSpPr>
        <p:spPr>
          <a:xfrm>
            <a:off x="2481867" y="592355"/>
            <a:ext cx="3210199"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800" b="1" i="0" u="none" strike="noStrike" kern="1200" cap="none" spc="-300" normalizeH="0" baseline="0" noProof="0" dirty="0">
                <a:ln>
                  <a:noFill/>
                </a:ln>
                <a:solidFill>
                  <a:srgbClr val="FF3399"/>
                </a:solidFill>
                <a:effectLst/>
                <a:uLnTx/>
                <a:uFillTx/>
                <a:latin typeface="Corbel"/>
                <a:ea typeface="+mn-ea"/>
                <a:cs typeface="+mn-cs"/>
              </a:rPr>
              <a:t>CoMe-ON</a:t>
            </a:r>
            <a:br>
              <a:rPr kumimoji="0" lang="es-ES" sz="4000" b="1" i="0" u="none" strike="noStrike" kern="1200" cap="none" spc="-300" normalizeH="0" baseline="0" noProof="0" dirty="0">
                <a:ln>
                  <a:noFill/>
                </a:ln>
                <a:solidFill>
                  <a:srgbClr val="0000CC"/>
                </a:solidFill>
                <a:effectLst/>
                <a:uLnTx/>
                <a:uFillTx/>
                <a:latin typeface="Corbel"/>
                <a:ea typeface="+mn-ea"/>
                <a:cs typeface="+mn-cs"/>
              </a:rPr>
            </a:b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93" name="Cuerda 192">
            <a:extLst>
              <a:ext uri="{FF2B5EF4-FFF2-40B4-BE49-F238E27FC236}">
                <a16:creationId xmlns:a16="http://schemas.microsoft.com/office/drawing/2014/main" id="{B4F0F613-6D21-4180-9620-6323706F8A08}"/>
              </a:ext>
            </a:extLst>
          </p:cNvPr>
          <p:cNvSpPr/>
          <p:nvPr/>
        </p:nvSpPr>
        <p:spPr>
          <a:xfrm rot="11654822">
            <a:off x="-685441" y="2273628"/>
            <a:ext cx="2022728" cy="2655769"/>
          </a:xfrm>
          <a:prstGeom prst="chord">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94" name="Gráfico 193" descr="Cerebro en la cabeza con relleno sólido">
            <a:extLst>
              <a:ext uri="{FF2B5EF4-FFF2-40B4-BE49-F238E27FC236}">
                <a16:creationId xmlns:a16="http://schemas.microsoft.com/office/drawing/2014/main" id="{67659AFF-2CBC-A401-5AAA-E32F4E2CDF5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63" y="2982861"/>
            <a:ext cx="1184638" cy="1184638"/>
          </a:xfrm>
          <a:prstGeom prst="rect">
            <a:avLst/>
          </a:prstGeom>
        </p:spPr>
      </p:pic>
      <p:sp>
        <p:nvSpPr>
          <p:cNvPr id="196" name="CuadroTexto 195">
            <a:extLst>
              <a:ext uri="{FF2B5EF4-FFF2-40B4-BE49-F238E27FC236}">
                <a16:creationId xmlns:a16="http://schemas.microsoft.com/office/drawing/2014/main" id="{0C54BCB8-69C7-541F-DE82-F67808167BFE}"/>
              </a:ext>
            </a:extLst>
          </p:cNvPr>
          <p:cNvSpPr txBox="1"/>
          <p:nvPr/>
        </p:nvSpPr>
        <p:spPr>
          <a:xfrm>
            <a:off x="711513" y="2064731"/>
            <a:ext cx="2130358" cy="584775"/>
          </a:xfrm>
          <a:prstGeom prst="rect">
            <a:avLst/>
          </a:prstGeom>
          <a:noFill/>
        </p:spPr>
        <p:txBody>
          <a:bodyPr wrap="square">
            <a:sp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CC"/>
                </a:solidFill>
                <a:effectLst/>
                <a:uLnTx/>
                <a:uFillTx/>
                <a:latin typeface="Arial" panose="020B0604020202020204"/>
                <a:ea typeface="+mn-ea"/>
                <a:cs typeface="+mn-cs"/>
              </a:rPr>
              <a:t>LIFE </a:t>
            </a:r>
          </a:p>
          <a:p>
            <a:pPr algn="ctr"/>
            <a:r>
              <a:rPr lang="en-US" sz="1400" dirty="0">
                <a:solidFill>
                  <a:prstClr val="black"/>
                </a:solidFill>
                <a:latin typeface="Arial" panose="020B0604020202020204"/>
              </a:rPr>
              <a:t>Mi </a:t>
            </a:r>
            <a:r>
              <a:rPr lang="en-US" sz="1400" dirty="0" err="1">
                <a:solidFill>
                  <a:prstClr val="black"/>
                </a:solidFill>
                <a:latin typeface="Arial" panose="020B0604020202020204"/>
              </a:rPr>
              <a:t>Propósito</a:t>
            </a:r>
            <a:endParaRPr lang="en-US" sz="1400" dirty="0">
              <a:solidFill>
                <a:prstClr val="black"/>
              </a:solidFill>
              <a:latin typeface="Arial" panose="020B0604020202020204"/>
            </a:endParaRPr>
          </a:p>
        </p:txBody>
      </p:sp>
      <p:sp>
        <p:nvSpPr>
          <p:cNvPr id="198" name="CuadroTexto 197">
            <a:extLst>
              <a:ext uri="{FF2B5EF4-FFF2-40B4-BE49-F238E27FC236}">
                <a16:creationId xmlns:a16="http://schemas.microsoft.com/office/drawing/2014/main" id="{B6D79510-081E-E331-49D6-B54DE1792C72}"/>
              </a:ext>
            </a:extLst>
          </p:cNvPr>
          <p:cNvSpPr txBox="1"/>
          <p:nvPr/>
        </p:nvSpPr>
        <p:spPr>
          <a:xfrm>
            <a:off x="1083996" y="2722539"/>
            <a:ext cx="2096875" cy="584775"/>
          </a:xfrm>
          <a:prstGeom prst="rect">
            <a:avLst/>
          </a:prstGeom>
          <a:noFill/>
        </p:spPr>
        <p:txBody>
          <a:bodyPr wrap="square">
            <a:sp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CC"/>
                </a:solidFill>
                <a:effectLst/>
                <a:uLnTx/>
                <a:uFillTx/>
                <a:latin typeface="Arial" panose="020B0604020202020204"/>
                <a:ea typeface="+mn-ea"/>
                <a:cs typeface="+mn-cs"/>
              </a:rPr>
              <a:t>M-F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Mi Full Potential</a:t>
            </a:r>
          </a:p>
        </p:txBody>
      </p:sp>
      <p:sp>
        <p:nvSpPr>
          <p:cNvPr id="200" name="CuadroTexto 199">
            <a:extLst>
              <a:ext uri="{FF2B5EF4-FFF2-40B4-BE49-F238E27FC236}">
                <a16:creationId xmlns:a16="http://schemas.microsoft.com/office/drawing/2014/main" id="{7674B571-E5D4-A4B2-03FC-A21088CD2785}"/>
              </a:ext>
            </a:extLst>
          </p:cNvPr>
          <p:cNvSpPr txBox="1"/>
          <p:nvPr/>
        </p:nvSpPr>
        <p:spPr>
          <a:xfrm>
            <a:off x="1243959" y="3464613"/>
            <a:ext cx="1890904" cy="584775"/>
          </a:xfrm>
          <a:prstGeom prst="rect">
            <a:avLst/>
          </a:prstGeom>
          <a:noFill/>
        </p:spPr>
        <p:txBody>
          <a:bodyPr wrap="square">
            <a:sp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CC"/>
                </a:solidFill>
                <a:effectLst/>
                <a:uLnTx/>
                <a:uFillTx/>
                <a:latin typeface="Arial" panose="020B0604020202020204"/>
                <a:ea typeface="+mn-ea"/>
                <a:cs typeface="+mn-cs"/>
              </a:rPr>
              <a:t>MOVE 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Mi </a:t>
            </a:r>
            <a:r>
              <a:rPr kumimoji="0" 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Motivación</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2" name="CuadroTexto 201">
            <a:extLst>
              <a:ext uri="{FF2B5EF4-FFF2-40B4-BE49-F238E27FC236}">
                <a16:creationId xmlns:a16="http://schemas.microsoft.com/office/drawing/2014/main" id="{ED322CA2-82A4-6ED1-A33E-FD4A82C7E638}"/>
              </a:ext>
            </a:extLst>
          </p:cNvPr>
          <p:cNvSpPr txBox="1"/>
          <p:nvPr/>
        </p:nvSpPr>
        <p:spPr>
          <a:xfrm>
            <a:off x="995861" y="4108561"/>
            <a:ext cx="1928623" cy="584775"/>
          </a:xfrm>
          <a:prstGeom prst="rect">
            <a:avLst/>
          </a:prstGeom>
          <a:noFill/>
        </p:spPr>
        <p:txBody>
          <a:bodyPr wrap="square">
            <a:sp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CC"/>
                </a:solidFill>
                <a:effectLst/>
                <a:uLnTx/>
                <a:uFillTx/>
                <a:latin typeface="Arial" panose="020B0604020202020204"/>
                <a:ea typeface="+mn-ea"/>
                <a:cs typeface="+mn-cs"/>
              </a:rPr>
              <a:t>LEAD 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Liderazgo</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4" name="CuadroTexto 203">
            <a:extLst>
              <a:ext uri="{FF2B5EF4-FFF2-40B4-BE49-F238E27FC236}">
                <a16:creationId xmlns:a16="http://schemas.microsoft.com/office/drawing/2014/main" id="{8A824EFB-AC65-210A-0B00-99B2FFB481A8}"/>
              </a:ext>
            </a:extLst>
          </p:cNvPr>
          <p:cNvSpPr txBox="1"/>
          <p:nvPr/>
        </p:nvSpPr>
        <p:spPr>
          <a:xfrm>
            <a:off x="471327" y="4791582"/>
            <a:ext cx="2411484" cy="584775"/>
          </a:xfrm>
          <a:prstGeom prst="rect">
            <a:avLst/>
          </a:prstGeom>
          <a:noFill/>
        </p:spPr>
        <p:txBody>
          <a:bodyPr wrap="square">
            <a:sp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CC"/>
                </a:solidFill>
                <a:effectLst/>
                <a:uLnTx/>
                <a:uFillTx/>
                <a:latin typeface="Arial" panose="020B0604020202020204"/>
                <a:ea typeface="+mn-ea"/>
                <a:cs typeface="+mn-cs"/>
              </a:rPr>
              <a:t>MIND-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Neutociencia</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5" name="CuadroTexto 204">
            <a:extLst>
              <a:ext uri="{FF2B5EF4-FFF2-40B4-BE49-F238E27FC236}">
                <a16:creationId xmlns:a16="http://schemas.microsoft.com/office/drawing/2014/main" id="{8779E53B-1BC6-D772-77DE-DFC5D696BCBD}"/>
              </a:ext>
            </a:extLst>
          </p:cNvPr>
          <p:cNvSpPr txBox="1"/>
          <p:nvPr/>
        </p:nvSpPr>
        <p:spPr>
          <a:xfrm>
            <a:off x="-128666" y="1474429"/>
            <a:ext cx="2130358" cy="584775"/>
          </a:xfrm>
          <a:prstGeom prst="rect">
            <a:avLst/>
          </a:prstGeom>
          <a:noFill/>
        </p:spPr>
        <p:txBody>
          <a:bodyPr wrap="square">
            <a:sp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B050"/>
                </a:solidFill>
                <a:effectLst/>
                <a:uLnTx/>
                <a:uFillTx/>
                <a:latin typeface="Arial" panose="020B0604020202020204"/>
                <a:ea typeface="+mn-ea"/>
                <a:cs typeface="+mn-cs"/>
              </a:rPr>
              <a:t>ENEAGRAM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Ser </a:t>
            </a:r>
            <a:r>
              <a:rPr kumimoji="0" 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conciente</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 name="CuadroTexto 1">
            <a:extLst>
              <a:ext uri="{FF2B5EF4-FFF2-40B4-BE49-F238E27FC236}">
                <a16:creationId xmlns:a16="http://schemas.microsoft.com/office/drawing/2014/main" id="{668C637A-21F4-3A6E-0040-13118C87651E}"/>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5" name="CuadroTexto 4">
            <a:extLst>
              <a:ext uri="{FF2B5EF4-FFF2-40B4-BE49-F238E27FC236}">
                <a16:creationId xmlns:a16="http://schemas.microsoft.com/office/drawing/2014/main" id="{2389F8FD-CB3F-8E9C-D511-1A425D323873}"/>
              </a:ext>
            </a:extLst>
          </p:cNvPr>
          <p:cNvSpPr txBox="1"/>
          <p:nvPr/>
        </p:nvSpPr>
        <p:spPr>
          <a:xfrm>
            <a:off x="-187891" y="6289202"/>
            <a:ext cx="2517731" cy="3139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600" b="0" i="1" u="none" strike="noStrike" kern="1200" cap="none" spc="0" normalizeH="0" baseline="0" noProof="0" dirty="0">
                <a:ln>
                  <a:noFill/>
                </a:ln>
                <a:solidFill>
                  <a:srgbClr val="FFFFFF"/>
                </a:solidFill>
                <a:effectLst/>
                <a:uLnTx/>
                <a:uFillTx/>
                <a:latin typeface="Candara"/>
                <a:ea typeface="+mn-ea"/>
                <a:cs typeface="+mn-cs"/>
              </a:rPr>
              <a:t>A la Connie Clark </a:t>
            </a:r>
          </a:p>
        </p:txBody>
      </p:sp>
      <p:sp>
        <p:nvSpPr>
          <p:cNvPr id="3" name="CuadroTexto 2">
            <a:extLst>
              <a:ext uri="{FF2B5EF4-FFF2-40B4-BE49-F238E27FC236}">
                <a16:creationId xmlns:a16="http://schemas.microsoft.com/office/drawing/2014/main" id="{E9896ABF-530E-9947-0EAF-C3AFA40D9631}"/>
              </a:ext>
            </a:extLst>
          </p:cNvPr>
          <p:cNvSpPr txBox="1"/>
          <p:nvPr/>
        </p:nvSpPr>
        <p:spPr>
          <a:xfrm>
            <a:off x="-520112" y="5390204"/>
            <a:ext cx="3444596" cy="584775"/>
          </a:xfrm>
          <a:prstGeom prst="rect">
            <a:avLst/>
          </a:prstGeom>
          <a:noFill/>
        </p:spPr>
        <p:txBody>
          <a:bodyPr wrap="square">
            <a:sp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B050"/>
                </a:solidFill>
                <a:effectLst/>
                <a:uLnTx/>
                <a:uFillTx/>
                <a:latin typeface="Arial" panose="020B0604020202020204"/>
                <a:ea typeface="+mn-ea"/>
                <a:cs typeface="+mn-cs"/>
              </a:rPr>
              <a:t>Follow your DR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Visualización</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CuadroTexto 7">
            <a:extLst>
              <a:ext uri="{FF2B5EF4-FFF2-40B4-BE49-F238E27FC236}">
                <a16:creationId xmlns:a16="http://schemas.microsoft.com/office/drawing/2014/main" id="{373BFBD3-079B-8C6A-FEB2-965A52167FA8}"/>
              </a:ext>
            </a:extLst>
          </p:cNvPr>
          <p:cNvSpPr txBox="1"/>
          <p:nvPr/>
        </p:nvSpPr>
        <p:spPr>
          <a:xfrm>
            <a:off x="2882811" y="1205133"/>
            <a:ext cx="246925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i="1" u="none" strike="noStrike" kern="1200" cap="none" spc="0" normalizeH="0" baseline="0" noProof="0" dirty="0">
                <a:ln>
                  <a:noFill/>
                </a:ln>
                <a:solidFill>
                  <a:srgbClr val="0070C0"/>
                </a:solidFill>
                <a:effectLst/>
                <a:uLnTx/>
                <a:uFillTx/>
                <a:latin typeface="Arial" panose="020B0604020202020204"/>
                <a:ea typeface="+mn-ea"/>
                <a:cs typeface="+mn-cs"/>
              </a:rPr>
              <a:t>Enciendeté </a:t>
            </a:r>
            <a:r>
              <a:rPr lang="es-ES" sz="1200" i="1" dirty="0">
                <a:solidFill>
                  <a:srgbClr val="0070C0"/>
                </a:solidFill>
                <a:latin typeface="Arial" panose="020B0604020202020204"/>
              </a:rPr>
              <a:t>y transforma tu </a:t>
            </a:r>
            <a:r>
              <a:rPr kumimoji="0" lang="es-ES" sz="1200" i="1" u="none" strike="noStrike" kern="1200" cap="none" spc="0" normalizeH="0" baseline="0" noProof="0" dirty="0">
                <a:ln>
                  <a:noFill/>
                </a:ln>
                <a:solidFill>
                  <a:srgbClr val="0070C0"/>
                </a:solidFill>
                <a:effectLst/>
                <a:uLnTx/>
                <a:uFillTx/>
                <a:latin typeface="Arial" panose="020B0604020202020204"/>
                <a:ea typeface="+mn-ea"/>
                <a:cs typeface="+mn-cs"/>
              </a:rPr>
              <a:t>vida</a:t>
            </a:r>
            <a:endParaRPr kumimoji="0" lang="en-US" sz="1200" i="1" u="none" strike="noStrike" kern="1200" cap="none" spc="0" normalizeH="0" baseline="0" noProof="0" dirty="0">
              <a:ln>
                <a:noFill/>
              </a:ln>
              <a:solidFill>
                <a:srgbClr val="0070C0"/>
              </a:solidFill>
              <a:effectLst/>
              <a:uLnTx/>
              <a:uFillTx/>
              <a:latin typeface="Arial" panose="020B0604020202020204"/>
              <a:ea typeface="+mn-ea"/>
              <a:cs typeface="+mn-cs"/>
            </a:endParaRPr>
          </a:p>
        </p:txBody>
      </p:sp>
      <p:sp>
        <p:nvSpPr>
          <p:cNvPr id="9" name="Pie 30">
            <a:extLst>
              <a:ext uri="{FF2B5EF4-FFF2-40B4-BE49-F238E27FC236}">
                <a16:creationId xmlns:a16="http://schemas.microsoft.com/office/drawing/2014/main" id="{3D0B5BEB-603A-2B4B-8C8A-DF00CF532FD1}"/>
              </a:ext>
            </a:extLst>
          </p:cNvPr>
          <p:cNvSpPr/>
          <p:nvPr/>
        </p:nvSpPr>
        <p:spPr>
          <a:xfrm rot="17934326">
            <a:off x="8008270" y="5774573"/>
            <a:ext cx="743712" cy="743712"/>
          </a:xfrm>
          <a:prstGeom prst="pie">
            <a:avLst>
              <a:gd name="adj1" fmla="val 0"/>
              <a:gd name="adj2" fmla="val 8839672"/>
            </a:avLst>
          </a:prstGeom>
          <a:solidFill>
            <a:srgbClr val="BED2F3">
              <a:lumMod val="75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11" name="Pie 66">
            <a:extLst>
              <a:ext uri="{FF2B5EF4-FFF2-40B4-BE49-F238E27FC236}">
                <a16:creationId xmlns:a16="http://schemas.microsoft.com/office/drawing/2014/main" id="{4175E2A9-1011-D5E3-B282-86ED36F58239}"/>
              </a:ext>
            </a:extLst>
          </p:cNvPr>
          <p:cNvSpPr/>
          <p:nvPr/>
        </p:nvSpPr>
        <p:spPr>
          <a:xfrm rot="21274308">
            <a:off x="7052532" y="5967483"/>
            <a:ext cx="743712" cy="743712"/>
          </a:xfrm>
          <a:prstGeom prst="pie">
            <a:avLst>
              <a:gd name="adj1" fmla="val 0"/>
              <a:gd name="adj2" fmla="val 12778483"/>
            </a:avLst>
          </a:prstGeom>
          <a:solidFill>
            <a:srgbClr val="BED2F3">
              <a:lumMod val="75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12" name="Pie 66">
            <a:extLst>
              <a:ext uri="{FF2B5EF4-FFF2-40B4-BE49-F238E27FC236}">
                <a16:creationId xmlns:a16="http://schemas.microsoft.com/office/drawing/2014/main" id="{F8DA5BD0-DF36-0B34-03C5-B46AA67D85C8}"/>
              </a:ext>
            </a:extLst>
          </p:cNvPr>
          <p:cNvSpPr/>
          <p:nvPr/>
        </p:nvSpPr>
        <p:spPr>
          <a:xfrm rot="2479896">
            <a:off x="6094653" y="5719166"/>
            <a:ext cx="743712" cy="743712"/>
          </a:xfrm>
          <a:prstGeom prst="pie">
            <a:avLst>
              <a:gd name="adj1" fmla="val 0"/>
              <a:gd name="adj2" fmla="val 12778483"/>
            </a:avLst>
          </a:prstGeom>
          <a:solidFill>
            <a:srgbClr val="BED2F3">
              <a:lumMod val="75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13" name="Pie 30">
            <a:extLst>
              <a:ext uri="{FF2B5EF4-FFF2-40B4-BE49-F238E27FC236}">
                <a16:creationId xmlns:a16="http://schemas.microsoft.com/office/drawing/2014/main" id="{426CB96F-0867-9ED0-44C2-347D2D9A5D5A}"/>
              </a:ext>
            </a:extLst>
          </p:cNvPr>
          <p:cNvSpPr/>
          <p:nvPr/>
        </p:nvSpPr>
        <p:spPr>
          <a:xfrm rot="2248725">
            <a:off x="8868184" y="5964785"/>
            <a:ext cx="743712" cy="743712"/>
          </a:xfrm>
          <a:prstGeom prst="pie">
            <a:avLst>
              <a:gd name="adj1" fmla="val 0"/>
              <a:gd name="adj2" fmla="val 8839672"/>
            </a:avLst>
          </a:prstGeom>
          <a:solidFill>
            <a:srgbClr val="33D196">
              <a:lumMod val="60000"/>
              <a:lumOff val="40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14" name="Pie 30">
            <a:extLst>
              <a:ext uri="{FF2B5EF4-FFF2-40B4-BE49-F238E27FC236}">
                <a16:creationId xmlns:a16="http://schemas.microsoft.com/office/drawing/2014/main" id="{38885BDA-5CAA-2218-E049-C31F4AB4E70A}"/>
              </a:ext>
            </a:extLst>
          </p:cNvPr>
          <p:cNvSpPr/>
          <p:nvPr/>
        </p:nvSpPr>
        <p:spPr>
          <a:xfrm rot="20607851">
            <a:off x="9743498" y="5916036"/>
            <a:ext cx="743712" cy="743712"/>
          </a:xfrm>
          <a:prstGeom prst="pie">
            <a:avLst>
              <a:gd name="adj1" fmla="val 0"/>
              <a:gd name="adj2" fmla="val 8839672"/>
            </a:avLst>
          </a:prstGeom>
          <a:solidFill>
            <a:srgbClr val="33D196">
              <a:lumMod val="60000"/>
              <a:lumOff val="40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15" name="Pie 30">
            <a:extLst>
              <a:ext uri="{FF2B5EF4-FFF2-40B4-BE49-F238E27FC236}">
                <a16:creationId xmlns:a16="http://schemas.microsoft.com/office/drawing/2014/main" id="{E0063A0E-906C-D7EC-0A3C-248B08535445}"/>
              </a:ext>
            </a:extLst>
          </p:cNvPr>
          <p:cNvSpPr/>
          <p:nvPr/>
        </p:nvSpPr>
        <p:spPr>
          <a:xfrm rot="16200000">
            <a:off x="10274993" y="5489394"/>
            <a:ext cx="743712" cy="743712"/>
          </a:xfrm>
          <a:prstGeom prst="pie">
            <a:avLst>
              <a:gd name="adj1" fmla="val 0"/>
              <a:gd name="adj2" fmla="val 8839672"/>
            </a:avLst>
          </a:prstGeom>
          <a:solidFill>
            <a:srgbClr val="33D196">
              <a:lumMod val="60000"/>
              <a:lumOff val="40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16" name="Pie 20">
            <a:extLst>
              <a:ext uri="{FF2B5EF4-FFF2-40B4-BE49-F238E27FC236}">
                <a16:creationId xmlns:a16="http://schemas.microsoft.com/office/drawing/2014/main" id="{0C9104E7-DC72-84CF-FF2A-5798EA27ACFC}"/>
              </a:ext>
            </a:extLst>
          </p:cNvPr>
          <p:cNvSpPr/>
          <p:nvPr/>
        </p:nvSpPr>
        <p:spPr>
          <a:xfrm rot="16200000">
            <a:off x="9916601" y="492922"/>
            <a:ext cx="743712" cy="743712"/>
          </a:xfrm>
          <a:prstGeom prst="pie">
            <a:avLst>
              <a:gd name="adj1" fmla="val 0"/>
              <a:gd name="adj2" fmla="val 12778483"/>
            </a:avLst>
          </a:prstGeom>
          <a:solidFill>
            <a:srgbClr val="10069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cxnSp>
        <p:nvCxnSpPr>
          <p:cNvPr id="17" name="Straight Connector 18">
            <a:extLst>
              <a:ext uri="{FF2B5EF4-FFF2-40B4-BE49-F238E27FC236}">
                <a16:creationId xmlns:a16="http://schemas.microsoft.com/office/drawing/2014/main" id="{7D2FF75F-F7A4-D20D-8E4A-72D44C2B008C}"/>
              </a:ext>
            </a:extLst>
          </p:cNvPr>
          <p:cNvCxnSpPr>
            <a:cxnSpLocks/>
          </p:cNvCxnSpPr>
          <p:nvPr/>
        </p:nvCxnSpPr>
        <p:spPr>
          <a:xfrm flipV="1">
            <a:off x="9960763" y="902617"/>
            <a:ext cx="316021" cy="1173261"/>
          </a:xfrm>
          <a:prstGeom prst="line">
            <a:avLst/>
          </a:prstGeom>
          <a:noFill/>
          <a:ln w="6350" cap="flat" cmpd="sng" algn="ctr">
            <a:solidFill>
              <a:srgbClr val="10069F"/>
            </a:solidFill>
            <a:prstDash val="solid"/>
            <a:miter lim="800000"/>
          </a:ln>
          <a:effectLst/>
        </p:spPr>
      </p:cxnSp>
      <p:sp useBgFill="1">
        <p:nvSpPr>
          <p:cNvPr id="18" name="Oval 14">
            <a:extLst>
              <a:ext uri="{FF2B5EF4-FFF2-40B4-BE49-F238E27FC236}">
                <a16:creationId xmlns:a16="http://schemas.microsoft.com/office/drawing/2014/main" id="{25719651-C09B-E49D-AD25-FF580983A0B2}"/>
              </a:ext>
            </a:extLst>
          </p:cNvPr>
          <p:cNvSpPr>
            <a:spLocks noChangeArrowheads="1"/>
          </p:cNvSpPr>
          <p:nvPr/>
        </p:nvSpPr>
        <p:spPr bwMode="auto">
          <a:xfrm>
            <a:off x="9972436" y="548758"/>
            <a:ext cx="632043" cy="632040"/>
          </a:xfrm>
          <a:prstGeom prst="ellipse">
            <a:avLst/>
          </a:prstGeom>
          <a:ln w="3175">
            <a:solidFill>
              <a:srgbClr val="10069F"/>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Arial" panose="020B0604020202020204"/>
            </a:endParaRPr>
          </a:p>
        </p:txBody>
      </p:sp>
      <p:cxnSp>
        <p:nvCxnSpPr>
          <p:cNvPr id="19" name="Straight Connector 35">
            <a:extLst>
              <a:ext uri="{FF2B5EF4-FFF2-40B4-BE49-F238E27FC236}">
                <a16:creationId xmlns:a16="http://schemas.microsoft.com/office/drawing/2014/main" id="{E5A7DF1F-BE97-DAB3-8C0C-E3BDAEC15717}"/>
              </a:ext>
            </a:extLst>
          </p:cNvPr>
          <p:cNvCxnSpPr>
            <a:cxnSpLocks/>
          </p:cNvCxnSpPr>
          <p:nvPr/>
        </p:nvCxnSpPr>
        <p:spPr>
          <a:xfrm flipH="1" flipV="1">
            <a:off x="10618712" y="3912020"/>
            <a:ext cx="216167" cy="1255801"/>
          </a:xfrm>
          <a:prstGeom prst="line">
            <a:avLst/>
          </a:prstGeom>
          <a:noFill/>
          <a:ln w="6350" cap="flat" cmpd="sng" algn="ctr">
            <a:solidFill>
              <a:srgbClr val="753BBD"/>
            </a:solidFill>
            <a:prstDash val="solid"/>
            <a:miter lim="800000"/>
          </a:ln>
          <a:effectLst/>
        </p:spPr>
      </p:cxnSp>
      <p:cxnSp>
        <p:nvCxnSpPr>
          <p:cNvPr id="20" name="Straight Connector 38">
            <a:extLst>
              <a:ext uri="{FF2B5EF4-FFF2-40B4-BE49-F238E27FC236}">
                <a16:creationId xmlns:a16="http://schemas.microsoft.com/office/drawing/2014/main" id="{399156C7-C8E5-382B-B383-93E3F8531CBB}"/>
              </a:ext>
            </a:extLst>
          </p:cNvPr>
          <p:cNvCxnSpPr>
            <a:cxnSpLocks/>
          </p:cNvCxnSpPr>
          <p:nvPr/>
        </p:nvCxnSpPr>
        <p:spPr>
          <a:xfrm flipV="1">
            <a:off x="9989934" y="1641230"/>
            <a:ext cx="1131433" cy="414328"/>
          </a:xfrm>
          <a:prstGeom prst="line">
            <a:avLst/>
          </a:prstGeom>
          <a:noFill/>
          <a:ln w="6350" cap="flat" cmpd="sng" algn="ctr">
            <a:solidFill>
              <a:srgbClr val="10069F"/>
            </a:solidFill>
            <a:prstDash val="solid"/>
            <a:miter lim="800000"/>
          </a:ln>
          <a:effectLst/>
        </p:spPr>
      </p:cxnSp>
      <p:cxnSp>
        <p:nvCxnSpPr>
          <p:cNvPr id="21" name="Straight Connector 40">
            <a:extLst>
              <a:ext uri="{FF2B5EF4-FFF2-40B4-BE49-F238E27FC236}">
                <a16:creationId xmlns:a16="http://schemas.microsoft.com/office/drawing/2014/main" id="{3A58E60E-0DD6-9D43-56A3-28A6B3A0B577}"/>
              </a:ext>
            </a:extLst>
          </p:cNvPr>
          <p:cNvCxnSpPr>
            <a:cxnSpLocks/>
          </p:cNvCxnSpPr>
          <p:nvPr/>
        </p:nvCxnSpPr>
        <p:spPr>
          <a:xfrm>
            <a:off x="9960763" y="2086302"/>
            <a:ext cx="1153093" cy="578405"/>
          </a:xfrm>
          <a:prstGeom prst="line">
            <a:avLst/>
          </a:prstGeom>
          <a:noFill/>
          <a:ln w="6350" cap="flat" cmpd="sng" algn="ctr">
            <a:solidFill>
              <a:srgbClr val="10069F"/>
            </a:solidFill>
            <a:prstDash val="solid"/>
            <a:miter lim="800000"/>
          </a:ln>
          <a:effectLst/>
        </p:spPr>
      </p:cxnSp>
      <p:cxnSp>
        <p:nvCxnSpPr>
          <p:cNvPr id="22" name="Straight Connector 42">
            <a:extLst>
              <a:ext uri="{FF2B5EF4-FFF2-40B4-BE49-F238E27FC236}">
                <a16:creationId xmlns:a16="http://schemas.microsoft.com/office/drawing/2014/main" id="{42DDBFDC-A14F-CCA5-B1C7-638AEE0B3FF7}"/>
              </a:ext>
            </a:extLst>
          </p:cNvPr>
          <p:cNvCxnSpPr>
            <a:cxnSpLocks/>
          </p:cNvCxnSpPr>
          <p:nvPr/>
        </p:nvCxnSpPr>
        <p:spPr>
          <a:xfrm>
            <a:off x="10618711" y="3912020"/>
            <a:ext cx="1049043" cy="678412"/>
          </a:xfrm>
          <a:prstGeom prst="line">
            <a:avLst/>
          </a:prstGeom>
          <a:noFill/>
          <a:ln w="6350" cap="flat" cmpd="sng" algn="ctr">
            <a:solidFill>
              <a:srgbClr val="753BBD"/>
            </a:solidFill>
            <a:prstDash val="solid"/>
            <a:miter lim="800000"/>
          </a:ln>
          <a:effectLst/>
        </p:spPr>
      </p:cxnSp>
      <p:cxnSp>
        <p:nvCxnSpPr>
          <p:cNvPr id="23" name="Straight Connector 46">
            <a:extLst>
              <a:ext uri="{FF2B5EF4-FFF2-40B4-BE49-F238E27FC236}">
                <a16:creationId xmlns:a16="http://schemas.microsoft.com/office/drawing/2014/main" id="{6F84AC00-1A5D-068F-9241-EC1908D704B0}"/>
              </a:ext>
            </a:extLst>
          </p:cNvPr>
          <p:cNvCxnSpPr>
            <a:cxnSpLocks/>
          </p:cNvCxnSpPr>
          <p:nvPr/>
        </p:nvCxnSpPr>
        <p:spPr>
          <a:xfrm flipV="1">
            <a:off x="10642785" y="3584530"/>
            <a:ext cx="1034245" cy="356484"/>
          </a:xfrm>
          <a:prstGeom prst="line">
            <a:avLst/>
          </a:prstGeom>
          <a:noFill/>
          <a:ln w="6350" cap="flat" cmpd="sng" algn="ctr">
            <a:solidFill>
              <a:srgbClr val="753BBD"/>
            </a:solidFill>
            <a:prstDash val="solid"/>
            <a:miter lim="800000"/>
          </a:ln>
          <a:effectLst/>
        </p:spPr>
      </p:cxnSp>
      <p:sp>
        <p:nvSpPr>
          <p:cNvPr id="24" name="Pie 23">
            <a:extLst>
              <a:ext uri="{FF2B5EF4-FFF2-40B4-BE49-F238E27FC236}">
                <a16:creationId xmlns:a16="http://schemas.microsoft.com/office/drawing/2014/main" id="{982E968C-9809-7188-0D78-680B1FAEC55C}"/>
              </a:ext>
            </a:extLst>
          </p:cNvPr>
          <p:cNvSpPr/>
          <p:nvPr/>
        </p:nvSpPr>
        <p:spPr>
          <a:xfrm rot="16200000">
            <a:off x="10773825" y="2258972"/>
            <a:ext cx="743712" cy="743712"/>
          </a:xfrm>
          <a:prstGeom prst="pie">
            <a:avLst>
              <a:gd name="adj1" fmla="val 0"/>
              <a:gd name="adj2" fmla="val 8839672"/>
            </a:avLst>
          </a:prstGeom>
          <a:solidFill>
            <a:srgbClr val="10069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5" name="Pie 22">
            <a:extLst>
              <a:ext uri="{FF2B5EF4-FFF2-40B4-BE49-F238E27FC236}">
                <a16:creationId xmlns:a16="http://schemas.microsoft.com/office/drawing/2014/main" id="{9B230AE6-9630-459E-8F3C-662406FB59DD}"/>
              </a:ext>
            </a:extLst>
          </p:cNvPr>
          <p:cNvSpPr/>
          <p:nvPr/>
        </p:nvSpPr>
        <p:spPr>
          <a:xfrm rot="16200000">
            <a:off x="10773825" y="1228676"/>
            <a:ext cx="743712" cy="743712"/>
          </a:xfrm>
          <a:prstGeom prst="pie">
            <a:avLst>
              <a:gd name="adj1" fmla="val 0"/>
              <a:gd name="adj2" fmla="val 19354869"/>
            </a:avLst>
          </a:prstGeom>
          <a:solidFill>
            <a:srgbClr val="10069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26" name="Oval 11">
            <a:extLst>
              <a:ext uri="{FF2B5EF4-FFF2-40B4-BE49-F238E27FC236}">
                <a16:creationId xmlns:a16="http://schemas.microsoft.com/office/drawing/2014/main" id="{DE5FC7A5-D2A8-0C68-0193-738047B8FE04}"/>
              </a:ext>
            </a:extLst>
          </p:cNvPr>
          <p:cNvSpPr>
            <a:spLocks noChangeArrowheads="1"/>
          </p:cNvSpPr>
          <p:nvPr/>
        </p:nvSpPr>
        <p:spPr bwMode="auto">
          <a:xfrm>
            <a:off x="10829660" y="2314807"/>
            <a:ext cx="632043" cy="632040"/>
          </a:xfrm>
          <a:prstGeom prst="ellipse">
            <a:avLst/>
          </a:prstGeom>
          <a:ln w="3175">
            <a:solidFill>
              <a:srgbClr val="10069F"/>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sp useBgFill="1">
        <p:nvSpPr>
          <p:cNvPr id="27" name="Oval 13">
            <a:extLst>
              <a:ext uri="{FF2B5EF4-FFF2-40B4-BE49-F238E27FC236}">
                <a16:creationId xmlns:a16="http://schemas.microsoft.com/office/drawing/2014/main" id="{B2865BF3-CEEF-5DD4-EEE9-1C6C56787CEE}"/>
              </a:ext>
            </a:extLst>
          </p:cNvPr>
          <p:cNvSpPr>
            <a:spLocks noChangeArrowheads="1"/>
          </p:cNvSpPr>
          <p:nvPr/>
        </p:nvSpPr>
        <p:spPr bwMode="auto">
          <a:xfrm>
            <a:off x="10829660" y="1284512"/>
            <a:ext cx="632043" cy="632040"/>
          </a:xfrm>
          <a:prstGeom prst="ellipse">
            <a:avLst/>
          </a:prstGeom>
          <a:ln w="3175">
            <a:solidFill>
              <a:srgbClr val="10069F"/>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a:endParaRPr>
          </a:p>
        </p:txBody>
      </p:sp>
      <p:sp>
        <p:nvSpPr>
          <p:cNvPr id="28" name="Pie 31">
            <a:extLst>
              <a:ext uri="{FF2B5EF4-FFF2-40B4-BE49-F238E27FC236}">
                <a16:creationId xmlns:a16="http://schemas.microsoft.com/office/drawing/2014/main" id="{CB5152C7-2D49-BBDD-F9FE-B8CB61677483}"/>
              </a:ext>
            </a:extLst>
          </p:cNvPr>
          <p:cNvSpPr/>
          <p:nvPr/>
        </p:nvSpPr>
        <p:spPr>
          <a:xfrm rot="16200000">
            <a:off x="11331919" y="4216807"/>
            <a:ext cx="743712" cy="743712"/>
          </a:xfrm>
          <a:prstGeom prst="pie">
            <a:avLst>
              <a:gd name="adj1" fmla="val 0"/>
              <a:gd name="adj2" fmla="val 19354869"/>
            </a:avLst>
          </a:prstGeom>
          <a:solidFill>
            <a:srgbClr val="753BBD"/>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9" name="Pie 32">
            <a:extLst>
              <a:ext uri="{FF2B5EF4-FFF2-40B4-BE49-F238E27FC236}">
                <a16:creationId xmlns:a16="http://schemas.microsoft.com/office/drawing/2014/main" id="{56BC7BB5-7DD7-558F-7476-22A40884698E}"/>
              </a:ext>
            </a:extLst>
          </p:cNvPr>
          <p:cNvSpPr/>
          <p:nvPr/>
        </p:nvSpPr>
        <p:spPr>
          <a:xfrm rot="16200000">
            <a:off x="11331919" y="3197302"/>
            <a:ext cx="743712" cy="743712"/>
          </a:xfrm>
          <a:prstGeom prst="pie">
            <a:avLst>
              <a:gd name="adj1" fmla="val 0"/>
              <a:gd name="adj2" fmla="val 12778483"/>
            </a:avLst>
          </a:prstGeom>
          <a:solidFill>
            <a:srgbClr val="753BBD"/>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30" name="Oval 34">
            <a:extLst>
              <a:ext uri="{FF2B5EF4-FFF2-40B4-BE49-F238E27FC236}">
                <a16:creationId xmlns:a16="http://schemas.microsoft.com/office/drawing/2014/main" id="{79731670-616F-9C48-8DD5-DED26CA50788}"/>
              </a:ext>
            </a:extLst>
          </p:cNvPr>
          <p:cNvSpPr>
            <a:spLocks noChangeArrowheads="1"/>
          </p:cNvSpPr>
          <p:nvPr/>
        </p:nvSpPr>
        <p:spPr bwMode="auto">
          <a:xfrm>
            <a:off x="11387754" y="4272643"/>
            <a:ext cx="632043" cy="632040"/>
          </a:xfrm>
          <a:prstGeom prst="ellipse">
            <a:avLst/>
          </a:prstGeom>
          <a:ln w="3175">
            <a:solidFill>
              <a:srgbClr val="753BBD"/>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Arial" panose="020B0604020202020204"/>
            </a:endParaRPr>
          </a:p>
        </p:txBody>
      </p:sp>
      <p:sp useBgFill="1">
        <p:nvSpPr>
          <p:cNvPr id="31" name="Oval 36">
            <a:extLst>
              <a:ext uri="{FF2B5EF4-FFF2-40B4-BE49-F238E27FC236}">
                <a16:creationId xmlns:a16="http://schemas.microsoft.com/office/drawing/2014/main" id="{116D82DE-5302-3805-00DD-4F5119716001}"/>
              </a:ext>
            </a:extLst>
          </p:cNvPr>
          <p:cNvSpPr>
            <a:spLocks noChangeArrowheads="1"/>
          </p:cNvSpPr>
          <p:nvPr/>
        </p:nvSpPr>
        <p:spPr bwMode="auto">
          <a:xfrm>
            <a:off x="11387754" y="3253138"/>
            <a:ext cx="632043" cy="632040"/>
          </a:xfrm>
          <a:prstGeom prst="ellipse">
            <a:avLst/>
          </a:prstGeom>
          <a:ln w="3175">
            <a:solidFill>
              <a:srgbClr val="753BBD"/>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sp>
        <p:nvSpPr>
          <p:cNvPr id="64" name="Pie 30">
            <a:extLst>
              <a:ext uri="{FF2B5EF4-FFF2-40B4-BE49-F238E27FC236}">
                <a16:creationId xmlns:a16="http://schemas.microsoft.com/office/drawing/2014/main" id="{29F45A9F-03BE-B198-44BE-ED71C1137ADE}"/>
              </a:ext>
            </a:extLst>
          </p:cNvPr>
          <p:cNvSpPr/>
          <p:nvPr/>
        </p:nvSpPr>
        <p:spPr>
          <a:xfrm rot="16200000">
            <a:off x="10563188" y="4795964"/>
            <a:ext cx="743712" cy="743712"/>
          </a:xfrm>
          <a:prstGeom prst="pie">
            <a:avLst>
              <a:gd name="adj1" fmla="val 0"/>
              <a:gd name="adj2" fmla="val 8839672"/>
            </a:avLst>
          </a:prstGeom>
          <a:solidFill>
            <a:srgbClr val="753BBD"/>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65" name="Oval 33">
            <a:extLst>
              <a:ext uri="{FF2B5EF4-FFF2-40B4-BE49-F238E27FC236}">
                <a16:creationId xmlns:a16="http://schemas.microsoft.com/office/drawing/2014/main" id="{AD72888E-65EF-F6D8-EA2D-94044C757A42}"/>
              </a:ext>
            </a:extLst>
          </p:cNvPr>
          <p:cNvSpPr>
            <a:spLocks noChangeArrowheads="1"/>
          </p:cNvSpPr>
          <p:nvPr/>
        </p:nvSpPr>
        <p:spPr bwMode="auto">
          <a:xfrm>
            <a:off x="10619023" y="4851799"/>
            <a:ext cx="632043" cy="632040"/>
          </a:xfrm>
          <a:prstGeom prst="ellipse">
            <a:avLst/>
          </a:prstGeom>
          <a:ln w="3175">
            <a:solidFill>
              <a:srgbClr val="753BBD"/>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Arial" panose="020B0604020202020204"/>
            </a:endParaRPr>
          </a:p>
        </p:txBody>
      </p:sp>
      <p:cxnSp>
        <p:nvCxnSpPr>
          <p:cNvPr id="66" name="Straight Connector 48">
            <a:extLst>
              <a:ext uri="{FF2B5EF4-FFF2-40B4-BE49-F238E27FC236}">
                <a16:creationId xmlns:a16="http://schemas.microsoft.com/office/drawing/2014/main" id="{85A8846F-9B1C-A2A6-7C58-0ED822E0DFA0}"/>
              </a:ext>
            </a:extLst>
          </p:cNvPr>
          <p:cNvCxnSpPr>
            <a:cxnSpLocks/>
            <a:endCxn id="70" idx="3"/>
          </p:cNvCxnSpPr>
          <p:nvPr/>
        </p:nvCxnSpPr>
        <p:spPr>
          <a:xfrm flipV="1">
            <a:off x="9103572" y="2500239"/>
            <a:ext cx="436379" cy="616542"/>
          </a:xfrm>
          <a:prstGeom prst="line">
            <a:avLst/>
          </a:prstGeom>
          <a:noFill/>
          <a:ln w="6350" cap="flat" cmpd="sng" algn="ctr">
            <a:solidFill>
              <a:srgbClr val="10069F"/>
            </a:solidFill>
            <a:prstDash val="solid"/>
            <a:miter lim="800000"/>
          </a:ln>
          <a:effectLst/>
        </p:spPr>
      </p:cxnSp>
      <p:cxnSp>
        <p:nvCxnSpPr>
          <p:cNvPr id="67" name="Straight Connector 72">
            <a:extLst>
              <a:ext uri="{FF2B5EF4-FFF2-40B4-BE49-F238E27FC236}">
                <a16:creationId xmlns:a16="http://schemas.microsoft.com/office/drawing/2014/main" id="{4E669F4F-1E46-0C0A-E530-6E99F2D6CE25}"/>
              </a:ext>
            </a:extLst>
          </p:cNvPr>
          <p:cNvCxnSpPr>
            <a:cxnSpLocks/>
            <a:stCxn id="138" idx="6"/>
            <a:endCxn id="71" idx="2"/>
          </p:cNvCxnSpPr>
          <p:nvPr/>
        </p:nvCxnSpPr>
        <p:spPr>
          <a:xfrm>
            <a:off x="9169601" y="3380925"/>
            <a:ext cx="752668" cy="531095"/>
          </a:xfrm>
          <a:prstGeom prst="line">
            <a:avLst/>
          </a:prstGeom>
          <a:noFill/>
          <a:ln w="6350" cap="flat" cmpd="sng" algn="ctr">
            <a:solidFill>
              <a:srgbClr val="753BBD"/>
            </a:solidFill>
            <a:prstDash val="solid"/>
            <a:miter lim="800000"/>
          </a:ln>
          <a:effectLst/>
        </p:spPr>
      </p:cxnSp>
      <p:cxnSp>
        <p:nvCxnSpPr>
          <p:cNvPr id="68" name="Straight Connector 76">
            <a:extLst>
              <a:ext uri="{FF2B5EF4-FFF2-40B4-BE49-F238E27FC236}">
                <a16:creationId xmlns:a16="http://schemas.microsoft.com/office/drawing/2014/main" id="{4EFB23D7-0EAF-23B4-9987-8DC3E7AFD9C2}"/>
              </a:ext>
            </a:extLst>
          </p:cNvPr>
          <p:cNvCxnSpPr>
            <a:stCxn id="138" idx="2"/>
            <a:endCxn id="117" idx="3"/>
          </p:cNvCxnSpPr>
          <p:nvPr/>
        </p:nvCxnSpPr>
        <p:spPr>
          <a:xfrm flipH="1" flipV="1">
            <a:off x="6925941" y="2823375"/>
            <a:ext cx="443964" cy="557551"/>
          </a:xfrm>
          <a:prstGeom prst="line">
            <a:avLst/>
          </a:prstGeom>
          <a:noFill/>
          <a:ln w="6350" cap="flat" cmpd="sng" algn="ctr">
            <a:solidFill>
              <a:srgbClr val="595959"/>
            </a:solidFill>
            <a:prstDash val="solid"/>
            <a:miter lim="800000"/>
          </a:ln>
          <a:effectLst/>
        </p:spPr>
      </p:cxnSp>
      <p:cxnSp>
        <p:nvCxnSpPr>
          <p:cNvPr id="69" name="Straight Connector 77">
            <a:extLst>
              <a:ext uri="{FF2B5EF4-FFF2-40B4-BE49-F238E27FC236}">
                <a16:creationId xmlns:a16="http://schemas.microsoft.com/office/drawing/2014/main" id="{F3B531AB-EA1C-4D42-B73A-A3C7CA8ECCF6}"/>
              </a:ext>
            </a:extLst>
          </p:cNvPr>
          <p:cNvCxnSpPr>
            <a:stCxn id="138" idx="2"/>
            <a:endCxn id="137" idx="1"/>
          </p:cNvCxnSpPr>
          <p:nvPr/>
        </p:nvCxnSpPr>
        <p:spPr>
          <a:xfrm flipH="1">
            <a:off x="6925941" y="3380925"/>
            <a:ext cx="443964" cy="273882"/>
          </a:xfrm>
          <a:prstGeom prst="line">
            <a:avLst/>
          </a:prstGeom>
          <a:noFill/>
          <a:ln w="6350" cap="flat" cmpd="sng" algn="ctr">
            <a:solidFill>
              <a:srgbClr val="EE3744"/>
            </a:solidFill>
            <a:prstDash val="solid"/>
            <a:miter lim="800000"/>
          </a:ln>
          <a:effectLst/>
        </p:spPr>
      </p:cxnSp>
      <p:sp>
        <p:nvSpPr>
          <p:cNvPr id="70" name="Oval 7">
            <a:extLst>
              <a:ext uri="{FF2B5EF4-FFF2-40B4-BE49-F238E27FC236}">
                <a16:creationId xmlns:a16="http://schemas.microsoft.com/office/drawing/2014/main" id="{D076952D-B35D-3B9C-103E-05B20CE00979}"/>
              </a:ext>
            </a:extLst>
          </p:cNvPr>
          <p:cNvSpPr>
            <a:spLocks noChangeArrowheads="1"/>
          </p:cNvSpPr>
          <p:nvPr/>
        </p:nvSpPr>
        <p:spPr bwMode="auto">
          <a:xfrm>
            <a:off x="9364175" y="1475740"/>
            <a:ext cx="1200276" cy="1200275"/>
          </a:xfrm>
          <a:prstGeom prst="ellipse">
            <a:avLst/>
          </a:prstGeom>
          <a:solidFill>
            <a:srgbClr val="10069F"/>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M-FP</a:t>
            </a:r>
          </a:p>
        </p:txBody>
      </p:sp>
      <p:sp>
        <p:nvSpPr>
          <p:cNvPr id="71" name="Oval 8">
            <a:extLst>
              <a:ext uri="{FF2B5EF4-FFF2-40B4-BE49-F238E27FC236}">
                <a16:creationId xmlns:a16="http://schemas.microsoft.com/office/drawing/2014/main" id="{D1CD820F-074D-F7DC-7897-9661B5D1531F}"/>
              </a:ext>
            </a:extLst>
          </p:cNvPr>
          <p:cNvSpPr>
            <a:spLocks noChangeArrowheads="1"/>
          </p:cNvSpPr>
          <p:nvPr/>
        </p:nvSpPr>
        <p:spPr bwMode="auto">
          <a:xfrm>
            <a:off x="9922269" y="3311882"/>
            <a:ext cx="1200276" cy="1200275"/>
          </a:xfrm>
          <a:prstGeom prst="ellipse">
            <a:avLst/>
          </a:prstGeom>
          <a:solidFill>
            <a:srgbClr val="753BBD"/>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MOVE 1.0</a:t>
            </a:r>
          </a:p>
        </p:txBody>
      </p:sp>
      <p:cxnSp>
        <p:nvCxnSpPr>
          <p:cNvPr id="72" name="Straight Connector 56">
            <a:extLst>
              <a:ext uri="{FF2B5EF4-FFF2-40B4-BE49-F238E27FC236}">
                <a16:creationId xmlns:a16="http://schemas.microsoft.com/office/drawing/2014/main" id="{66917DBD-B8B2-E2E3-D915-7F016CE88D91}"/>
              </a:ext>
            </a:extLst>
          </p:cNvPr>
          <p:cNvCxnSpPr>
            <a:cxnSpLocks/>
          </p:cNvCxnSpPr>
          <p:nvPr/>
        </p:nvCxnSpPr>
        <p:spPr>
          <a:xfrm flipV="1">
            <a:off x="6189108" y="4079169"/>
            <a:ext cx="216167" cy="1255801"/>
          </a:xfrm>
          <a:prstGeom prst="line">
            <a:avLst/>
          </a:prstGeom>
          <a:noFill/>
          <a:ln w="6350" cap="flat" cmpd="sng" algn="ctr">
            <a:solidFill>
              <a:srgbClr val="EE3744"/>
            </a:solidFill>
            <a:prstDash val="solid"/>
            <a:miter lim="800000"/>
          </a:ln>
          <a:effectLst/>
        </p:spPr>
      </p:cxnSp>
      <p:cxnSp>
        <p:nvCxnSpPr>
          <p:cNvPr id="73" name="Straight Connector 57">
            <a:extLst>
              <a:ext uri="{FF2B5EF4-FFF2-40B4-BE49-F238E27FC236}">
                <a16:creationId xmlns:a16="http://schemas.microsoft.com/office/drawing/2014/main" id="{29F78180-AA25-BBE5-EA76-6617550A848A}"/>
              </a:ext>
            </a:extLst>
          </p:cNvPr>
          <p:cNvCxnSpPr>
            <a:cxnSpLocks/>
          </p:cNvCxnSpPr>
          <p:nvPr/>
        </p:nvCxnSpPr>
        <p:spPr>
          <a:xfrm flipH="1" flipV="1">
            <a:off x="5344526" y="1964365"/>
            <a:ext cx="1131433" cy="414328"/>
          </a:xfrm>
          <a:prstGeom prst="line">
            <a:avLst/>
          </a:prstGeom>
          <a:noFill/>
          <a:ln w="6350" cap="flat" cmpd="sng" algn="ctr">
            <a:solidFill>
              <a:srgbClr val="595959"/>
            </a:solidFill>
            <a:prstDash val="solid"/>
            <a:miter lim="800000"/>
          </a:ln>
          <a:effectLst/>
        </p:spPr>
      </p:cxnSp>
      <p:cxnSp>
        <p:nvCxnSpPr>
          <p:cNvPr id="74" name="Straight Connector 58">
            <a:extLst>
              <a:ext uri="{FF2B5EF4-FFF2-40B4-BE49-F238E27FC236}">
                <a16:creationId xmlns:a16="http://schemas.microsoft.com/office/drawing/2014/main" id="{D7EEF6C4-99CD-1EDE-7B39-40CBB7B37AB2}"/>
              </a:ext>
            </a:extLst>
          </p:cNvPr>
          <p:cNvCxnSpPr>
            <a:cxnSpLocks/>
          </p:cNvCxnSpPr>
          <p:nvPr/>
        </p:nvCxnSpPr>
        <p:spPr>
          <a:xfrm flipH="1">
            <a:off x="5352036" y="2409437"/>
            <a:ext cx="1153093" cy="578405"/>
          </a:xfrm>
          <a:prstGeom prst="line">
            <a:avLst/>
          </a:prstGeom>
          <a:noFill/>
          <a:ln w="6350" cap="flat" cmpd="sng" algn="ctr">
            <a:solidFill>
              <a:srgbClr val="595959"/>
            </a:solidFill>
            <a:prstDash val="solid"/>
            <a:miter lim="800000"/>
          </a:ln>
          <a:effectLst/>
        </p:spPr>
      </p:cxnSp>
      <p:cxnSp>
        <p:nvCxnSpPr>
          <p:cNvPr id="75" name="Straight Connector 59">
            <a:extLst>
              <a:ext uri="{FF2B5EF4-FFF2-40B4-BE49-F238E27FC236}">
                <a16:creationId xmlns:a16="http://schemas.microsoft.com/office/drawing/2014/main" id="{30A5D5B2-1F7D-906F-22AC-EFB35030BA13}"/>
              </a:ext>
            </a:extLst>
          </p:cNvPr>
          <p:cNvCxnSpPr>
            <a:cxnSpLocks/>
          </p:cNvCxnSpPr>
          <p:nvPr/>
        </p:nvCxnSpPr>
        <p:spPr>
          <a:xfrm flipH="1">
            <a:off x="5356231" y="4079169"/>
            <a:ext cx="1049043" cy="678412"/>
          </a:xfrm>
          <a:prstGeom prst="line">
            <a:avLst/>
          </a:prstGeom>
          <a:noFill/>
          <a:ln w="6350" cap="flat" cmpd="sng" algn="ctr">
            <a:solidFill>
              <a:srgbClr val="10069F"/>
            </a:solidFill>
            <a:prstDash val="solid"/>
            <a:miter lim="800000"/>
          </a:ln>
          <a:effectLst/>
        </p:spPr>
      </p:cxnSp>
      <p:cxnSp>
        <p:nvCxnSpPr>
          <p:cNvPr id="76" name="Straight Connector 60">
            <a:extLst>
              <a:ext uri="{FF2B5EF4-FFF2-40B4-BE49-F238E27FC236}">
                <a16:creationId xmlns:a16="http://schemas.microsoft.com/office/drawing/2014/main" id="{96C45A9B-68DE-7FF8-6C30-3E7401402F5A}"/>
              </a:ext>
            </a:extLst>
          </p:cNvPr>
          <p:cNvCxnSpPr>
            <a:cxnSpLocks/>
          </p:cNvCxnSpPr>
          <p:nvPr/>
        </p:nvCxnSpPr>
        <p:spPr>
          <a:xfrm flipH="1" flipV="1">
            <a:off x="5346956" y="3751679"/>
            <a:ext cx="1034245" cy="356484"/>
          </a:xfrm>
          <a:prstGeom prst="line">
            <a:avLst/>
          </a:prstGeom>
          <a:noFill/>
          <a:ln w="6350" cap="flat" cmpd="sng" algn="ctr">
            <a:solidFill>
              <a:srgbClr val="EE3744"/>
            </a:solidFill>
            <a:prstDash val="solid"/>
            <a:miter lim="800000"/>
          </a:ln>
          <a:effectLst/>
        </p:spPr>
      </p:cxnSp>
      <p:sp>
        <p:nvSpPr>
          <p:cNvPr id="77" name="Pie 61">
            <a:extLst>
              <a:ext uri="{FF2B5EF4-FFF2-40B4-BE49-F238E27FC236}">
                <a16:creationId xmlns:a16="http://schemas.microsoft.com/office/drawing/2014/main" id="{D7DDE2B6-59F8-F39E-B1A2-AEC810108068}"/>
              </a:ext>
            </a:extLst>
          </p:cNvPr>
          <p:cNvSpPr/>
          <p:nvPr/>
        </p:nvSpPr>
        <p:spPr>
          <a:xfrm rot="16200000">
            <a:off x="4948354" y="2582107"/>
            <a:ext cx="743712" cy="743712"/>
          </a:xfrm>
          <a:prstGeom prst="pie">
            <a:avLst>
              <a:gd name="adj1" fmla="val 0"/>
              <a:gd name="adj2" fmla="val 8839672"/>
            </a:avLst>
          </a:prstGeom>
          <a:solidFill>
            <a:srgbClr val="59595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78" name="Pie 62">
            <a:extLst>
              <a:ext uri="{FF2B5EF4-FFF2-40B4-BE49-F238E27FC236}">
                <a16:creationId xmlns:a16="http://schemas.microsoft.com/office/drawing/2014/main" id="{D2934F56-B21E-F904-BA63-C26B47439693}"/>
              </a:ext>
            </a:extLst>
          </p:cNvPr>
          <p:cNvSpPr/>
          <p:nvPr/>
        </p:nvSpPr>
        <p:spPr>
          <a:xfrm rot="16200000">
            <a:off x="4948354" y="1551811"/>
            <a:ext cx="743712" cy="743712"/>
          </a:xfrm>
          <a:prstGeom prst="pie">
            <a:avLst>
              <a:gd name="adj1" fmla="val 0"/>
              <a:gd name="adj2" fmla="val 19354869"/>
            </a:avLst>
          </a:prstGeom>
          <a:solidFill>
            <a:srgbClr val="59595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79" name="Oval 63">
            <a:extLst>
              <a:ext uri="{FF2B5EF4-FFF2-40B4-BE49-F238E27FC236}">
                <a16:creationId xmlns:a16="http://schemas.microsoft.com/office/drawing/2014/main" id="{63AC1DEF-C494-37AB-7FBC-FA9C65E82FB6}"/>
              </a:ext>
            </a:extLst>
          </p:cNvPr>
          <p:cNvSpPr>
            <a:spLocks noChangeArrowheads="1"/>
          </p:cNvSpPr>
          <p:nvPr/>
        </p:nvSpPr>
        <p:spPr bwMode="auto">
          <a:xfrm flipH="1">
            <a:off x="5004189" y="2637942"/>
            <a:ext cx="632043" cy="632040"/>
          </a:xfrm>
          <a:prstGeom prst="ellipse">
            <a:avLst/>
          </a:prstGeom>
          <a:ln w="3175">
            <a:solidFill>
              <a:srgbClr val="595959"/>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Arial" panose="020B0604020202020204"/>
            </a:endParaRPr>
          </a:p>
        </p:txBody>
      </p:sp>
      <p:sp useBgFill="1">
        <p:nvSpPr>
          <p:cNvPr id="80" name="Oval 64">
            <a:extLst>
              <a:ext uri="{FF2B5EF4-FFF2-40B4-BE49-F238E27FC236}">
                <a16:creationId xmlns:a16="http://schemas.microsoft.com/office/drawing/2014/main" id="{CC68A107-03B1-78A5-E173-BA9AE1DAC72F}"/>
              </a:ext>
            </a:extLst>
          </p:cNvPr>
          <p:cNvSpPr>
            <a:spLocks noChangeArrowheads="1"/>
          </p:cNvSpPr>
          <p:nvPr/>
        </p:nvSpPr>
        <p:spPr bwMode="auto">
          <a:xfrm flipH="1">
            <a:off x="5004189" y="1607647"/>
            <a:ext cx="632043" cy="632040"/>
          </a:xfrm>
          <a:prstGeom prst="ellipse">
            <a:avLst/>
          </a:prstGeom>
          <a:ln w="3175">
            <a:solidFill>
              <a:srgbClr val="595959"/>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a:endParaRPr>
          </a:p>
        </p:txBody>
      </p:sp>
      <p:sp>
        <p:nvSpPr>
          <p:cNvPr id="81" name="Pie 65">
            <a:extLst>
              <a:ext uri="{FF2B5EF4-FFF2-40B4-BE49-F238E27FC236}">
                <a16:creationId xmlns:a16="http://schemas.microsoft.com/office/drawing/2014/main" id="{B80559E4-9343-C4AE-F985-1DF01B27873E}"/>
              </a:ext>
            </a:extLst>
          </p:cNvPr>
          <p:cNvSpPr/>
          <p:nvPr/>
        </p:nvSpPr>
        <p:spPr>
          <a:xfrm rot="16200000">
            <a:off x="4948354" y="4383956"/>
            <a:ext cx="743712" cy="743712"/>
          </a:xfrm>
          <a:prstGeom prst="pie">
            <a:avLst>
              <a:gd name="adj1" fmla="val 0"/>
              <a:gd name="adj2" fmla="val 19354869"/>
            </a:avLst>
          </a:prstGeom>
          <a:solidFill>
            <a:srgbClr val="EE3744"/>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2" name="Pie 66">
            <a:extLst>
              <a:ext uri="{FF2B5EF4-FFF2-40B4-BE49-F238E27FC236}">
                <a16:creationId xmlns:a16="http://schemas.microsoft.com/office/drawing/2014/main" id="{79761279-39E0-0F78-6ED2-7F4CFCC5033B}"/>
              </a:ext>
            </a:extLst>
          </p:cNvPr>
          <p:cNvSpPr/>
          <p:nvPr/>
        </p:nvSpPr>
        <p:spPr>
          <a:xfrm rot="16200000">
            <a:off x="4948354" y="3364451"/>
            <a:ext cx="743712" cy="743712"/>
          </a:xfrm>
          <a:prstGeom prst="pie">
            <a:avLst>
              <a:gd name="adj1" fmla="val 0"/>
              <a:gd name="adj2" fmla="val 12778483"/>
            </a:avLst>
          </a:prstGeom>
          <a:solidFill>
            <a:srgbClr val="EE3744"/>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83" name="Oval 67">
            <a:extLst>
              <a:ext uri="{FF2B5EF4-FFF2-40B4-BE49-F238E27FC236}">
                <a16:creationId xmlns:a16="http://schemas.microsoft.com/office/drawing/2014/main" id="{CBA9E031-67B5-950D-F76C-F79B2AFAE9B3}"/>
              </a:ext>
            </a:extLst>
          </p:cNvPr>
          <p:cNvSpPr>
            <a:spLocks noChangeArrowheads="1"/>
          </p:cNvSpPr>
          <p:nvPr/>
        </p:nvSpPr>
        <p:spPr bwMode="auto">
          <a:xfrm flipH="1">
            <a:off x="5004189" y="4439792"/>
            <a:ext cx="632043" cy="632040"/>
          </a:xfrm>
          <a:prstGeom prst="ellipse">
            <a:avLst/>
          </a:prstGeom>
          <a:ln w="3175">
            <a:solidFill>
              <a:srgbClr val="EE3744"/>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a:endParaRPr>
          </a:p>
        </p:txBody>
      </p:sp>
      <p:sp useBgFill="1">
        <p:nvSpPr>
          <p:cNvPr id="84" name="Oval 68">
            <a:extLst>
              <a:ext uri="{FF2B5EF4-FFF2-40B4-BE49-F238E27FC236}">
                <a16:creationId xmlns:a16="http://schemas.microsoft.com/office/drawing/2014/main" id="{B1EC81DB-862C-6C49-8C78-5489B6DF3094}"/>
              </a:ext>
            </a:extLst>
          </p:cNvPr>
          <p:cNvSpPr>
            <a:spLocks noChangeArrowheads="1"/>
          </p:cNvSpPr>
          <p:nvPr/>
        </p:nvSpPr>
        <p:spPr bwMode="auto">
          <a:xfrm flipH="1">
            <a:off x="5004189" y="3420287"/>
            <a:ext cx="632043" cy="632040"/>
          </a:xfrm>
          <a:prstGeom prst="ellipse">
            <a:avLst/>
          </a:prstGeom>
          <a:ln w="3175">
            <a:solidFill>
              <a:srgbClr val="EE3744"/>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a:endParaRPr>
          </a:p>
        </p:txBody>
      </p:sp>
      <p:sp>
        <p:nvSpPr>
          <p:cNvPr id="115" name="Pie 69">
            <a:extLst>
              <a:ext uri="{FF2B5EF4-FFF2-40B4-BE49-F238E27FC236}">
                <a16:creationId xmlns:a16="http://schemas.microsoft.com/office/drawing/2014/main" id="{BE0CA4B9-5A51-D55F-CD28-AE1CCB858F0E}"/>
              </a:ext>
            </a:extLst>
          </p:cNvPr>
          <p:cNvSpPr/>
          <p:nvPr/>
        </p:nvSpPr>
        <p:spPr>
          <a:xfrm rot="16200000">
            <a:off x="5805578" y="4963113"/>
            <a:ext cx="743712" cy="743712"/>
          </a:xfrm>
          <a:prstGeom prst="pie">
            <a:avLst>
              <a:gd name="adj1" fmla="val 0"/>
              <a:gd name="adj2" fmla="val 8839672"/>
            </a:avLst>
          </a:prstGeom>
          <a:solidFill>
            <a:srgbClr val="EE3744"/>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116" name="Oval 70">
            <a:extLst>
              <a:ext uri="{FF2B5EF4-FFF2-40B4-BE49-F238E27FC236}">
                <a16:creationId xmlns:a16="http://schemas.microsoft.com/office/drawing/2014/main" id="{C3625D53-B1BE-DC90-94D6-F79546B8DD21}"/>
              </a:ext>
            </a:extLst>
          </p:cNvPr>
          <p:cNvSpPr>
            <a:spLocks noChangeArrowheads="1"/>
          </p:cNvSpPr>
          <p:nvPr/>
        </p:nvSpPr>
        <p:spPr bwMode="auto">
          <a:xfrm flipH="1">
            <a:off x="5861413" y="5018948"/>
            <a:ext cx="632043" cy="632040"/>
          </a:xfrm>
          <a:prstGeom prst="ellipse">
            <a:avLst/>
          </a:prstGeom>
          <a:ln w="3175">
            <a:solidFill>
              <a:srgbClr val="EE3744"/>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a:endParaRPr>
          </a:p>
        </p:txBody>
      </p:sp>
      <p:sp>
        <p:nvSpPr>
          <p:cNvPr id="117" name="Oval 52">
            <a:extLst>
              <a:ext uri="{FF2B5EF4-FFF2-40B4-BE49-F238E27FC236}">
                <a16:creationId xmlns:a16="http://schemas.microsoft.com/office/drawing/2014/main" id="{268B320B-B6BE-E15B-0C56-E3D2CA2DCA50}"/>
              </a:ext>
            </a:extLst>
          </p:cNvPr>
          <p:cNvSpPr>
            <a:spLocks noChangeArrowheads="1"/>
          </p:cNvSpPr>
          <p:nvPr/>
        </p:nvSpPr>
        <p:spPr bwMode="auto">
          <a:xfrm flipH="1">
            <a:off x="5901441" y="1798875"/>
            <a:ext cx="1200276" cy="1200275"/>
          </a:xfrm>
          <a:prstGeom prst="ellipse">
            <a:avLst/>
          </a:prstGeom>
          <a:solidFill>
            <a:srgbClr val="595959"/>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LIFE</a:t>
            </a:r>
          </a:p>
        </p:txBody>
      </p:sp>
      <p:sp>
        <p:nvSpPr>
          <p:cNvPr id="137" name="Oval 53">
            <a:extLst>
              <a:ext uri="{FF2B5EF4-FFF2-40B4-BE49-F238E27FC236}">
                <a16:creationId xmlns:a16="http://schemas.microsoft.com/office/drawing/2014/main" id="{AC40E3BB-3286-7937-FCEC-BA63E3EC7816}"/>
              </a:ext>
            </a:extLst>
          </p:cNvPr>
          <p:cNvSpPr>
            <a:spLocks noChangeArrowheads="1"/>
          </p:cNvSpPr>
          <p:nvPr/>
        </p:nvSpPr>
        <p:spPr bwMode="auto">
          <a:xfrm flipH="1">
            <a:off x="5901441" y="3479031"/>
            <a:ext cx="1200276" cy="1200275"/>
          </a:xfrm>
          <a:prstGeom prst="ellipse">
            <a:avLst/>
          </a:prstGeom>
          <a:solidFill>
            <a:srgbClr val="EE3744"/>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600" dirty="0">
                <a:solidFill>
                  <a:schemeClr val="bg1"/>
                </a:solidFill>
              </a:rPr>
              <a:t>ENEAGRAMA</a:t>
            </a:r>
            <a:endParaRPr kumimoji="0" lang="en-US" sz="1467" b="0" i="0" u="none" strike="noStrike" kern="0" cap="none" spc="0" normalizeH="0" baseline="0" noProof="0" dirty="0">
              <a:ln>
                <a:noFill/>
              </a:ln>
              <a:solidFill>
                <a:schemeClr val="bg1"/>
              </a:solidFill>
              <a:effectLst/>
              <a:uLnTx/>
              <a:uFillTx/>
              <a:latin typeface="Arial" panose="020B0604020202020204"/>
            </a:endParaRPr>
          </a:p>
        </p:txBody>
      </p:sp>
      <p:sp>
        <p:nvSpPr>
          <p:cNvPr id="138" name="Oval 2">
            <a:extLst>
              <a:ext uri="{FF2B5EF4-FFF2-40B4-BE49-F238E27FC236}">
                <a16:creationId xmlns:a16="http://schemas.microsoft.com/office/drawing/2014/main" id="{DC5F2403-B38F-CC4F-D404-C8B58FC7E59A}"/>
              </a:ext>
            </a:extLst>
          </p:cNvPr>
          <p:cNvSpPr>
            <a:spLocks noChangeArrowheads="1"/>
          </p:cNvSpPr>
          <p:nvPr/>
        </p:nvSpPr>
        <p:spPr bwMode="auto">
          <a:xfrm>
            <a:off x="7369905" y="2481078"/>
            <a:ext cx="1799696" cy="1799693"/>
          </a:xfrm>
          <a:prstGeom prst="ellipse">
            <a:avLst/>
          </a:prstGeom>
          <a:solidFill>
            <a:srgbClr val="0000CC">
              <a:alpha val="29804"/>
            </a:srgbClr>
          </a:solidFill>
          <a:ln w="28575">
            <a:solidFill>
              <a:schemeClr val="tx1"/>
            </a:solidFill>
          </a:ln>
        </p:spPr>
        <p:txBody>
          <a:bodyPr vert="horz" wrap="square" lIns="121920" tIns="60960" rIns="121920" bIns="6096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ndParaRPr>
          </a:p>
        </p:txBody>
      </p:sp>
      <p:sp>
        <p:nvSpPr>
          <p:cNvPr id="155" name="TextBox 39">
            <a:extLst>
              <a:ext uri="{FF2B5EF4-FFF2-40B4-BE49-F238E27FC236}">
                <a16:creationId xmlns:a16="http://schemas.microsoft.com/office/drawing/2014/main" id="{EAB704B3-4676-4B4D-0A71-3005983317C7}"/>
              </a:ext>
            </a:extLst>
          </p:cNvPr>
          <p:cNvSpPr txBox="1"/>
          <p:nvPr/>
        </p:nvSpPr>
        <p:spPr>
          <a:xfrm>
            <a:off x="7456672" y="2965668"/>
            <a:ext cx="1712784" cy="800219"/>
          </a:xfrm>
          <a:prstGeom prst="rect">
            <a:avLst/>
          </a:prstGeom>
          <a:noFill/>
        </p:spPr>
        <p:txBody>
          <a:bodyPr wrap="square" rtlCol="0">
            <a:spAutoFit/>
          </a:bodyPr>
          <a:lstStyle/>
          <a:p>
            <a:pPr algn="ctr"/>
            <a:r>
              <a:rPr lang="es-ES" b="1" i="1" dirty="0">
                <a:solidFill>
                  <a:schemeClr val="bg1"/>
                </a:solidFill>
              </a:rPr>
              <a:t>JOURNEY</a:t>
            </a:r>
          </a:p>
          <a:p>
            <a:pPr algn="ctr"/>
            <a:r>
              <a:rPr lang="en-US" sz="1400" dirty="0" err="1">
                <a:solidFill>
                  <a:prstClr val="black"/>
                </a:solidFill>
                <a:latin typeface="Arial" panose="020B0604020202020204"/>
              </a:rPr>
              <a:t>hacia</a:t>
            </a:r>
            <a:r>
              <a:rPr lang="en-US" sz="1400" dirty="0">
                <a:solidFill>
                  <a:prstClr val="black"/>
                </a:solidFill>
                <a:latin typeface="Arial" panose="020B0604020202020204"/>
              </a:rPr>
              <a:t> la </a:t>
            </a:r>
            <a:r>
              <a:rPr lang="en-US" sz="1400" dirty="0" err="1">
                <a:solidFill>
                  <a:prstClr val="black"/>
                </a:solidFill>
                <a:latin typeface="Arial" panose="020B0604020202020204"/>
              </a:rPr>
              <a:t>transformación</a:t>
            </a:r>
            <a:endParaRPr lang="en-US" sz="1400" dirty="0">
              <a:solidFill>
                <a:prstClr val="black"/>
              </a:solidFill>
              <a:latin typeface="Arial" panose="020B0604020202020204"/>
            </a:endParaRPr>
          </a:p>
        </p:txBody>
      </p:sp>
      <p:sp>
        <p:nvSpPr>
          <p:cNvPr id="156" name="Oval 8">
            <a:extLst>
              <a:ext uri="{FF2B5EF4-FFF2-40B4-BE49-F238E27FC236}">
                <a16:creationId xmlns:a16="http://schemas.microsoft.com/office/drawing/2014/main" id="{7AA524EF-9AB9-BA01-FCCA-FAB77B8DF8DB}"/>
              </a:ext>
            </a:extLst>
          </p:cNvPr>
          <p:cNvSpPr>
            <a:spLocks noChangeArrowheads="1"/>
          </p:cNvSpPr>
          <p:nvPr/>
        </p:nvSpPr>
        <p:spPr bwMode="auto">
          <a:xfrm>
            <a:off x="6828774" y="4647539"/>
            <a:ext cx="1200276" cy="1200275"/>
          </a:xfrm>
          <a:prstGeom prst="ellipse">
            <a:avLst/>
          </a:prstGeom>
          <a:solidFill>
            <a:srgbClr val="BED2F3">
              <a:lumMod val="75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LEAD</a:t>
            </a:r>
            <a:r>
              <a:rPr lang="en-US" sz="1467" kern="0" dirty="0">
                <a:solidFill>
                  <a:srgbClr val="FFFFFF"/>
                </a:solidFill>
                <a:latin typeface="Arial" panose="020B0604020202020204"/>
              </a:rPr>
              <a:t> 1.0</a:t>
            </a:r>
            <a:endParaRPr kumimoji="0" lang="en-US" sz="1467" b="0" i="0" u="none" strike="noStrike" kern="0" cap="none" spc="0" normalizeH="0" baseline="0" noProof="0" dirty="0">
              <a:ln>
                <a:noFill/>
              </a:ln>
              <a:solidFill>
                <a:srgbClr val="FFFFFF"/>
              </a:solidFill>
              <a:effectLst/>
              <a:uLnTx/>
              <a:uFillTx/>
              <a:latin typeface="Arial" panose="020B0604020202020204"/>
            </a:endParaRPr>
          </a:p>
        </p:txBody>
      </p:sp>
      <p:sp useBgFill="1">
        <p:nvSpPr>
          <p:cNvPr id="157" name="Oval 33">
            <a:extLst>
              <a:ext uri="{FF2B5EF4-FFF2-40B4-BE49-F238E27FC236}">
                <a16:creationId xmlns:a16="http://schemas.microsoft.com/office/drawing/2014/main" id="{E05BFA8C-81AA-D03B-6904-2DFAECDB81D8}"/>
              </a:ext>
            </a:extLst>
          </p:cNvPr>
          <p:cNvSpPr>
            <a:spLocks noChangeArrowheads="1"/>
          </p:cNvSpPr>
          <p:nvPr/>
        </p:nvSpPr>
        <p:spPr bwMode="auto">
          <a:xfrm>
            <a:off x="6156886" y="5760912"/>
            <a:ext cx="632043" cy="632040"/>
          </a:xfrm>
          <a:prstGeom prst="ellipse">
            <a:avLst/>
          </a:prstGeom>
          <a:ln w="3175">
            <a:solidFill>
              <a:srgbClr val="58595B">
                <a:lumMod val="50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cxnSp>
        <p:nvCxnSpPr>
          <p:cNvPr id="163" name="Conector reto 10312">
            <a:extLst>
              <a:ext uri="{FF2B5EF4-FFF2-40B4-BE49-F238E27FC236}">
                <a16:creationId xmlns:a16="http://schemas.microsoft.com/office/drawing/2014/main" id="{762914D2-DA0A-838B-788B-D35D131779B1}"/>
              </a:ext>
            </a:extLst>
          </p:cNvPr>
          <p:cNvCxnSpPr>
            <a:stCxn id="157" idx="7"/>
            <a:endCxn id="156" idx="3"/>
          </p:cNvCxnSpPr>
          <p:nvPr/>
        </p:nvCxnSpPr>
        <p:spPr>
          <a:xfrm flipV="1">
            <a:off x="6696368" y="5672038"/>
            <a:ext cx="308182" cy="181434"/>
          </a:xfrm>
          <a:prstGeom prst="line">
            <a:avLst/>
          </a:prstGeom>
          <a:noFill/>
          <a:ln w="6350" cap="flat" cmpd="sng" algn="ctr">
            <a:solidFill>
              <a:srgbClr val="10069F"/>
            </a:solidFill>
            <a:prstDash val="solid"/>
            <a:miter lim="800000"/>
          </a:ln>
          <a:effectLst/>
        </p:spPr>
      </p:cxnSp>
      <p:sp useBgFill="1">
        <p:nvSpPr>
          <p:cNvPr id="164" name="Oval 33">
            <a:extLst>
              <a:ext uri="{FF2B5EF4-FFF2-40B4-BE49-F238E27FC236}">
                <a16:creationId xmlns:a16="http://schemas.microsoft.com/office/drawing/2014/main" id="{873F29F3-F2C7-2CDA-8230-1F726FCE60A7}"/>
              </a:ext>
            </a:extLst>
          </p:cNvPr>
          <p:cNvSpPr>
            <a:spLocks noChangeArrowheads="1"/>
          </p:cNvSpPr>
          <p:nvPr/>
        </p:nvSpPr>
        <p:spPr bwMode="auto">
          <a:xfrm>
            <a:off x="7107406" y="5994936"/>
            <a:ext cx="632043" cy="632040"/>
          </a:xfrm>
          <a:prstGeom prst="ellipse">
            <a:avLst/>
          </a:prstGeom>
          <a:ln w="3175">
            <a:solidFill>
              <a:srgbClr val="58595B">
                <a:lumMod val="50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sp useBgFill="1">
        <p:nvSpPr>
          <p:cNvPr id="165" name="Oval 33">
            <a:extLst>
              <a:ext uri="{FF2B5EF4-FFF2-40B4-BE49-F238E27FC236}">
                <a16:creationId xmlns:a16="http://schemas.microsoft.com/office/drawing/2014/main" id="{79943462-014C-6F92-BC26-D45419FA748F}"/>
              </a:ext>
            </a:extLst>
          </p:cNvPr>
          <p:cNvSpPr>
            <a:spLocks noChangeArrowheads="1"/>
          </p:cNvSpPr>
          <p:nvPr/>
        </p:nvSpPr>
        <p:spPr bwMode="auto">
          <a:xfrm>
            <a:off x="8042951" y="5821776"/>
            <a:ext cx="632043" cy="632040"/>
          </a:xfrm>
          <a:prstGeom prst="ellipse">
            <a:avLst/>
          </a:prstGeom>
          <a:ln w="3175">
            <a:solidFill>
              <a:srgbClr val="58595B">
                <a:lumMod val="50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a:endParaRPr>
          </a:p>
        </p:txBody>
      </p:sp>
      <p:cxnSp>
        <p:nvCxnSpPr>
          <p:cNvPr id="166" name="Conector reto 10315">
            <a:extLst>
              <a:ext uri="{FF2B5EF4-FFF2-40B4-BE49-F238E27FC236}">
                <a16:creationId xmlns:a16="http://schemas.microsoft.com/office/drawing/2014/main" id="{A220FB13-030B-456A-5C21-DA949B2D6412}"/>
              </a:ext>
            </a:extLst>
          </p:cNvPr>
          <p:cNvCxnSpPr>
            <a:cxnSpLocks/>
            <a:stCxn id="164" idx="0"/>
            <a:endCxn id="156" idx="4"/>
          </p:cNvCxnSpPr>
          <p:nvPr/>
        </p:nvCxnSpPr>
        <p:spPr>
          <a:xfrm flipV="1">
            <a:off x="7423428" y="5847814"/>
            <a:ext cx="5484" cy="147122"/>
          </a:xfrm>
          <a:prstGeom prst="line">
            <a:avLst/>
          </a:prstGeom>
          <a:noFill/>
          <a:ln w="6350" cap="flat" cmpd="sng" algn="ctr">
            <a:solidFill>
              <a:srgbClr val="10069F"/>
            </a:solidFill>
            <a:prstDash val="solid"/>
            <a:miter lim="800000"/>
          </a:ln>
          <a:effectLst/>
        </p:spPr>
      </p:cxnSp>
      <p:cxnSp>
        <p:nvCxnSpPr>
          <p:cNvPr id="167" name="Conector reto 10316">
            <a:extLst>
              <a:ext uri="{FF2B5EF4-FFF2-40B4-BE49-F238E27FC236}">
                <a16:creationId xmlns:a16="http://schemas.microsoft.com/office/drawing/2014/main" id="{C77D8B9E-4A2A-B0BF-2042-1556B6E19498}"/>
              </a:ext>
            </a:extLst>
          </p:cNvPr>
          <p:cNvCxnSpPr>
            <a:cxnSpLocks/>
            <a:stCxn id="165" idx="1"/>
            <a:endCxn id="156" idx="5"/>
          </p:cNvCxnSpPr>
          <p:nvPr/>
        </p:nvCxnSpPr>
        <p:spPr>
          <a:xfrm flipH="1" flipV="1">
            <a:off x="7853274" y="5672038"/>
            <a:ext cx="282238" cy="242298"/>
          </a:xfrm>
          <a:prstGeom prst="line">
            <a:avLst/>
          </a:prstGeom>
          <a:noFill/>
          <a:ln w="6350" cap="flat" cmpd="sng" algn="ctr">
            <a:solidFill>
              <a:srgbClr val="10069F"/>
            </a:solidFill>
            <a:prstDash val="solid"/>
            <a:miter lim="800000"/>
          </a:ln>
          <a:effectLst/>
        </p:spPr>
      </p:cxnSp>
      <p:cxnSp>
        <p:nvCxnSpPr>
          <p:cNvPr id="168" name="Conector reto 10317">
            <a:extLst>
              <a:ext uri="{FF2B5EF4-FFF2-40B4-BE49-F238E27FC236}">
                <a16:creationId xmlns:a16="http://schemas.microsoft.com/office/drawing/2014/main" id="{F39F4B0B-3E77-F5A8-B6A2-E679E4B3FEF7}"/>
              </a:ext>
            </a:extLst>
          </p:cNvPr>
          <p:cNvCxnSpPr>
            <a:cxnSpLocks/>
            <a:stCxn id="138" idx="4"/>
            <a:endCxn id="156" idx="0"/>
          </p:cNvCxnSpPr>
          <p:nvPr/>
        </p:nvCxnSpPr>
        <p:spPr>
          <a:xfrm flipH="1">
            <a:off x="7428912" y="4280771"/>
            <a:ext cx="840841" cy="366768"/>
          </a:xfrm>
          <a:prstGeom prst="line">
            <a:avLst/>
          </a:prstGeom>
          <a:noFill/>
          <a:ln w="6350" cap="flat" cmpd="sng" algn="ctr">
            <a:solidFill>
              <a:srgbClr val="10069F"/>
            </a:solidFill>
            <a:prstDash val="solid"/>
            <a:miter lim="800000"/>
          </a:ln>
          <a:effectLst/>
        </p:spPr>
      </p:cxnSp>
      <p:sp>
        <p:nvSpPr>
          <p:cNvPr id="169" name="Oval 8">
            <a:extLst>
              <a:ext uri="{FF2B5EF4-FFF2-40B4-BE49-F238E27FC236}">
                <a16:creationId xmlns:a16="http://schemas.microsoft.com/office/drawing/2014/main" id="{39BBDADB-E24F-D941-44D6-1B7EB5C64CBC}"/>
              </a:ext>
            </a:extLst>
          </p:cNvPr>
          <p:cNvSpPr>
            <a:spLocks noChangeArrowheads="1"/>
          </p:cNvSpPr>
          <p:nvPr/>
        </p:nvSpPr>
        <p:spPr bwMode="auto">
          <a:xfrm>
            <a:off x="8547647" y="4572692"/>
            <a:ext cx="1200276" cy="1200275"/>
          </a:xfrm>
          <a:prstGeom prst="ellipse">
            <a:avLst/>
          </a:prstGeom>
          <a:solidFill>
            <a:srgbClr val="33D196">
              <a:lumMod val="60000"/>
              <a:lumOff val="40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rPr>
              <a:t>MIND-1.0</a:t>
            </a:r>
          </a:p>
        </p:txBody>
      </p:sp>
      <p:sp useBgFill="1">
        <p:nvSpPr>
          <p:cNvPr id="170" name="Oval 33">
            <a:extLst>
              <a:ext uri="{FF2B5EF4-FFF2-40B4-BE49-F238E27FC236}">
                <a16:creationId xmlns:a16="http://schemas.microsoft.com/office/drawing/2014/main" id="{FBD6246D-8F0F-45D8-DC2B-04DDAC90CC72}"/>
              </a:ext>
            </a:extLst>
          </p:cNvPr>
          <p:cNvSpPr>
            <a:spLocks noChangeArrowheads="1"/>
          </p:cNvSpPr>
          <p:nvPr/>
        </p:nvSpPr>
        <p:spPr bwMode="auto">
          <a:xfrm>
            <a:off x="9782438" y="5953801"/>
            <a:ext cx="632043" cy="632040"/>
          </a:xfrm>
          <a:prstGeom prst="ellipse">
            <a:avLst/>
          </a:prstGeom>
          <a:ln w="3175">
            <a:solidFill>
              <a:srgbClr val="33D196">
                <a:lumMod val="75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cxnSp>
        <p:nvCxnSpPr>
          <p:cNvPr id="171" name="Conector reto 10320">
            <a:extLst>
              <a:ext uri="{FF2B5EF4-FFF2-40B4-BE49-F238E27FC236}">
                <a16:creationId xmlns:a16="http://schemas.microsoft.com/office/drawing/2014/main" id="{8ABDF883-BCD2-B961-713E-27368E47AFB5}"/>
              </a:ext>
            </a:extLst>
          </p:cNvPr>
          <p:cNvCxnSpPr>
            <a:cxnSpLocks/>
            <a:stCxn id="170" idx="1"/>
            <a:endCxn id="169" idx="5"/>
          </p:cNvCxnSpPr>
          <p:nvPr/>
        </p:nvCxnSpPr>
        <p:spPr>
          <a:xfrm flipH="1" flipV="1">
            <a:off x="9572147" y="5597191"/>
            <a:ext cx="302852" cy="449170"/>
          </a:xfrm>
          <a:prstGeom prst="line">
            <a:avLst/>
          </a:prstGeom>
          <a:noFill/>
          <a:ln w="6350" cap="flat" cmpd="sng" algn="ctr">
            <a:solidFill>
              <a:srgbClr val="33D196">
                <a:lumMod val="75000"/>
              </a:srgbClr>
            </a:solidFill>
            <a:prstDash val="solid"/>
            <a:miter lim="800000"/>
          </a:ln>
          <a:effectLst/>
        </p:spPr>
      </p:cxnSp>
      <p:sp useBgFill="1">
        <p:nvSpPr>
          <p:cNvPr id="172" name="Oval 33">
            <a:extLst>
              <a:ext uri="{FF2B5EF4-FFF2-40B4-BE49-F238E27FC236}">
                <a16:creationId xmlns:a16="http://schemas.microsoft.com/office/drawing/2014/main" id="{FC1F68DA-184F-B4F2-18C8-28F9B32C6D85}"/>
              </a:ext>
            </a:extLst>
          </p:cNvPr>
          <p:cNvSpPr>
            <a:spLocks noChangeArrowheads="1"/>
          </p:cNvSpPr>
          <p:nvPr/>
        </p:nvSpPr>
        <p:spPr bwMode="auto">
          <a:xfrm>
            <a:off x="10321920" y="5531794"/>
            <a:ext cx="632043" cy="632040"/>
          </a:xfrm>
          <a:prstGeom prst="ellipse">
            <a:avLst/>
          </a:prstGeom>
          <a:ln w="3175">
            <a:solidFill>
              <a:srgbClr val="33D196">
                <a:lumMod val="75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a:endParaRPr>
          </a:p>
        </p:txBody>
      </p:sp>
      <p:cxnSp>
        <p:nvCxnSpPr>
          <p:cNvPr id="173" name="Conector reto 10322">
            <a:extLst>
              <a:ext uri="{FF2B5EF4-FFF2-40B4-BE49-F238E27FC236}">
                <a16:creationId xmlns:a16="http://schemas.microsoft.com/office/drawing/2014/main" id="{AB7A8D7B-7639-F2AA-4332-F1739693E80E}"/>
              </a:ext>
            </a:extLst>
          </p:cNvPr>
          <p:cNvCxnSpPr>
            <a:cxnSpLocks/>
            <a:stCxn id="175" idx="0"/>
            <a:endCxn id="169" idx="5"/>
          </p:cNvCxnSpPr>
          <p:nvPr/>
        </p:nvCxnSpPr>
        <p:spPr>
          <a:xfrm flipV="1">
            <a:off x="9250493" y="5597191"/>
            <a:ext cx="321654" cy="415604"/>
          </a:xfrm>
          <a:prstGeom prst="line">
            <a:avLst/>
          </a:prstGeom>
          <a:noFill/>
          <a:ln w="6350" cap="flat" cmpd="sng" algn="ctr">
            <a:solidFill>
              <a:srgbClr val="33D196">
                <a:lumMod val="75000"/>
              </a:srgbClr>
            </a:solidFill>
            <a:prstDash val="solid"/>
            <a:miter lim="800000"/>
          </a:ln>
          <a:effectLst/>
        </p:spPr>
      </p:cxnSp>
      <p:cxnSp>
        <p:nvCxnSpPr>
          <p:cNvPr id="174" name="Conector reto 10323">
            <a:extLst>
              <a:ext uri="{FF2B5EF4-FFF2-40B4-BE49-F238E27FC236}">
                <a16:creationId xmlns:a16="http://schemas.microsoft.com/office/drawing/2014/main" id="{DC090CBF-3FBC-817B-9A28-5D011BDB1288}"/>
              </a:ext>
            </a:extLst>
          </p:cNvPr>
          <p:cNvCxnSpPr>
            <a:cxnSpLocks/>
            <a:stCxn id="172" idx="1"/>
            <a:endCxn id="169" idx="5"/>
          </p:cNvCxnSpPr>
          <p:nvPr/>
        </p:nvCxnSpPr>
        <p:spPr>
          <a:xfrm flipH="1" flipV="1">
            <a:off x="9572147" y="5597191"/>
            <a:ext cx="842334" cy="27163"/>
          </a:xfrm>
          <a:prstGeom prst="line">
            <a:avLst/>
          </a:prstGeom>
          <a:noFill/>
          <a:ln w="6350" cap="flat" cmpd="sng" algn="ctr">
            <a:solidFill>
              <a:srgbClr val="33D196">
                <a:lumMod val="75000"/>
              </a:srgbClr>
            </a:solidFill>
            <a:prstDash val="solid"/>
            <a:miter lim="800000"/>
          </a:ln>
          <a:effectLst/>
        </p:spPr>
      </p:cxnSp>
      <p:sp useBgFill="1">
        <p:nvSpPr>
          <p:cNvPr id="175" name="Oval 33">
            <a:extLst>
              <a:ext uri="{FF2B5EF4-FFF2-40B4-BE49-F238E27FC236}">
                <a16:creationId xmlns:a16="http://schemas.microsoft.com/office/drawing/2014/main" id="{E4964855-7CC5-2CBF-32BE-6929012E5777}"/>
              </a:ext>
            </a:extLst>
          </p:cNvPr>
          <p:cNvSpPr>
            <a:spLocks noChangeArrowheads="1"/>
          </p:cNvSpPr>
          <p:nvPr/>
        </p:nvSpPr>
        <p:spPr bwMode="auto">
          <a:xfrm>
            <a:off x="8934471" y="6012795"/>
            <a:ext cx="632043" cy="632040"/>
          </a:xfrm>
          <a:prstGeom prst="ellipse">
            <a:avLst/>
          </a:prstGeom>
          <a:ln w="3175">
            <a:solidFill>
              <a:srgbClr val="33D196">
                <a:lumMod val="75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cxnSp>
        <p:nvCxnSpPr>
          <p:cNvPr id="178" name="Conector reto 10325">
            <a:extLst>
              <a:ext uri="{FF2B5EF4-FFF2-40B4-BE49-F238E27FC236}">
                <a16:creationId xmlns:a16="http://schemas.microsoft.com/office/drawing/2014/main" id="{EE3BF4D3-AE50-F107-075D-3454B30ACF02}"/>
              </a:ext>
            </a:extLst>
          </p:cNvPr>
          <p:cNvCxnSpPr>
            <a:cxnSpLocks/>
            <a:stCxn id="138" idx="4"/>
            <a:endCxn id="169" idx="0"/>
          </p:cNvCxnSpPr>
          <p:nvPr/>
        </p:nvCxnSpPr>
        <p:spPr>
          <a:xfrm>
            <a:off x="8269753" y="4280771"/>
            <a:ext cx="878032" cy="291921"/>
          </a:xfrm>
          <a:prstGeom prst="line">
            <a:avLst/>
          </a:prstGeom>
          <a:noFill/>
          <a:ln w="6350" cap="flat" cmpd="sng" algn="ctr">
            <a:solidFill>
              <a:srgbClr val="33D196">
                <a:lumMod val="75000"/>
              </a:srgbClr>
            </a:solidFill>
            <a:prstDash val="solid"/>
            <a:miter lim="800000"/>
          </a:ln>
          <a:effectLst/>
        </p:spPr>
      </p:cxnSp>
      <p:cxnSp>
        <p:nvCxnSpPr>
          <p:cNvPr id="179" name="Straight Connector 38">
            <a:extLst>
              <a:ext uri="{FF2B5EF4-FFF2-40B4-BE49-F238E27FC236}">
                <a16:creationId xmlns:a16="http://schemas.microsoft.com/office/drawing/2014/main" id="{4925848A-804C-33DF-C9A2-A170EE7DBE7C}"/>
              </a:ext>
            </a:extLst>
          </p:cNvPr>
          <p:cNvCxnSpPr>
            <a:cxnSpLocks/>
          </p:cNvCxnSpPr>
          <p:nvPr/>
        </p:nvCxnSpPr>
        <p:spPr>
          <a:xfrm flipV="1">
            <a:off x="8259984" y="1214725"/>
            <a:ext cx="1131433" cy="414328"/>
          </a:xfrm>
          <a:prstGeom prst="line">
            <a:avLst/>
          </a:prstGeom>
          <a:noFill/>
          <a:ln w="6350" cap="flat" cmpd="sng" algn="ctr">
            <a:solidFill>
              <a:srgbClr val="10069F"/>
            </a:solidFill>
            <a:prstDash val="solid"/>
            <a:miter lim="800000"/>
          </a:ln>
          <a:effectLst/>
        </p:spPr>
      </p:cxnSp>
      <p:sp>
        <p:nvSpPr>
          <p:cNvPr id="180" name="Pie 22">
            <a:extLst>
              <a:ext uri="{FF2B5EF4-FFF2-40B4-BE49-F238E27FC236}">
                <a16:creationId xmlns:a16="http://schemas.microsoft.com/office/drawing/2014/main" id="{27045DF4-A58E-FF7B-503D-8254AF3AF3D7}"/>
              </a:ext>
            </a:extLst>
          </p:cNvPr>
          <p:cNvSpPr/>
          <p:nvPr/>
        </p:nvSpPr>
        <p:spPr>
          <a:xfrm rot="16200000">
            <a:off x="9043875" y="802171"/>
            <a:ext cx="743712" cy="743712"/>
          </a:xfrm>
          <a:prstGeom prst="pie">
            <a:avLst>
              <a:gd name="adj1" fmla="val 0"/>
              <a:gd name="adj2" fmla="val 19354869"/>
            </a:avLst>
          </a:prstGeom>
          <a:solidFill>
            <a:srgbClr val="BED2F3"/>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181" name="Oval 13">
            <a:extLst>
              <a:ext uri="{FF2B5EF4-FFF2-40B4-BE49-F238E27FC236}">
                <a16:creationId xmlns:a16="http://schemas.microsoft.com/office/drawing/2014/main" id="{746F579B-85D4-30EA-141E-5F244E708088}"/>
              </a:ext>
            </a:extLst>
          </p:cNvPr>
          <p:cNvSpPr>
            <a:spLocks noChangeArrowheads="1"/>
          </p:cNvSpPr>
          <p:nvPr/>
        </p:nvSpPr>
        <p:spPr bwMode="auto">
          <a:xfrm>
            <a:off x="9099710" y="858007"/>
            <a:ext cx="632043" cy="632040"/>
          </a:xfrm>
          <a:prstGeom prst="ellipse">
            <a:avLst/>
          </a:prstGeom>
          <a:ln w="3175">
            <a:solidFill>
              <a:srgbClr val="10069F"/>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a:endParaRPr>
          </a:p>
        </p:txBody>
      </p:sp>
      <p:cxnSp>
        <p:nvCxnSpPr>
          <p:cNvPr id="182" name="Straight Connector 48">
            <a:extLst>
              <a:ext uri="{FF2B5EF4-FFF2-40B4-BE49-F238E27FC236}">
                <a16:creationId xmlns:a16="http://schemas.microsoft.com/office/drawing/2014/main" id="{4670258F-D2CE-B1B1-3258-168EC4165675}"/>
              </a:ext>
            </a:extLst>
          </p:cNvPr>
          <p:cNvCxnSpPr>
            <a:cxnSpLocks/>
            <a:stCxn id="138" idx="0"/>
            <a:endCxn id="183" idx="4"/>
          </p:cNvCxnSpPr>
          <p:nvPr/>
        </p:nvCxnSpPr>
        <p:spPr>
          <a:xfrm flipH="1" flipV="1">
            <a:off x="8234363" y="2249510"/>
            <a:ext cx="35390" cy="231568"/>
          </a:xfrm>
          <a:prstGeom prst="line">
            <a:avLst/>
          </a:prstGeom>
          <a:noFill/>
          <a:ln w="6350" cap="flat" cmpd="sng" algn="ctr">
            <a:solidFill>
              <a:srgbClr val="10069F"/>
            </a:solidFill>
            <a:prstDash val="solid"/>
            <a:miter lim="800000"/>
          </a:ln>
          <a:effectLst/>
        </p:spPr>
      </p:cxnSp>
      <p:sp>
        <p:nvSpPr>
          <p:cNvPr id="183" name="Oval 7">
            <a:extLst>
              <a:ext uri="{FF2B5EF4-FFF2-40B4-BE49-F238E27FC236}">
                <a16:creationId xmlns:a16="http://schemas.microsoft.com/office/drawing/2014/main" id="{75BFC022-E04E-CF00-EC63-D5AE41812362}"/>
              </a:ext>
            </a:extLst>
          </p:cNvPr>
          <p:cNvSpPr>
            <a:spLocks noChangeArrowheads="1"/>
          </p:cNvSpPr>
          <p:nvPr/>
        </p:nvSpPr>
        <p:spPr bwMode="auto">
          <a:xfrm>
            <a:off x="7634225" y="1049235"/>
            <a:ext cx="1200276" cy="1200275"/>
          </a:xfrm>
          <a:prstGeom prst="ellipse">
            <a:avLst/>
          </a:prstGeom>
          <a:solidFill>
            <a:srgbClr val="BED2F3"/>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Empow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People</a:t>
            </a:r>
          </a:p>
        </p:txBody>
      </p:sp>
    </p:spTree>
    <p:extLst>
      <p:ext uri="{BB962C8B-B14F-4D97-AF65-F5344CB8AC3E}">
        <p14:creationId xmlns:p14="http://schemas.microsoft.com/office/powerpoint/2010/main" val="2880425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Marcador de posición de imagen 11" descr="Manos que se unen en un círculo">
            <a:extLst>
              <a:ext uri="{FF2B5EF4-FFF2-40B4-BE49-F238E27FC236}">
                <a16:creationId xmlns:a16="http://schemas.microsoft.com/office/drawing/2014/main" id="{0279D2A0-4078-433D-7EDF-D4697D229A31}"/>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9780588" cy="6804025"/>
          </a:xfrm>
          <a:prstGeom prst="rect">
            <a:avLst/>
          </a:prstGeom>
          <a:solidFill>
            <a:srgbClr val="FFFFFF">
              <a:lumMod val="85000"/>
            </a:srgbClr>
          </a:solidFill>
        </p:spPr>
      </p:pic>
      <p:sp>
        <p:nvSpPr>
          <p:cNvPr id="9" name="Título 2">
            <a:extLst>
              <a:ext uri="{FF2B5EF4-FFF2-40B4-BE49-F238E27FC236}">
                <a16:creationId xmlns:a16="http://schemas.microsoft.com/office/drawing/2014/main" id="{9471083A-98D2-8F37-7493-9C680DF70067}"/>
              </a:ext>
            </a:extLst>
          </p:cNvPr>
          <p:cNvSpPr txBox="1">
            <a:spLocks/>
          </p:cNvSpPr>
          <p:nvPr/>
        </p:nvSpPr>
        <p:spPr>
          <a:xfrm>
            <a:off x="3200400" y="2811053"/>
            <a:ext cx="8991600" cy="1261295"/>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es-ES" sz="5200" b="1" i="0" u="none" strike="noStrike" kern="1200" cap="none" spc="-300" normalizeH="0" baseline="0" noProof="0" dirty="0">
                <a:ln>
                  <a:noFill/>
                </a:ln>
                <a:solidFill>
                  <a:srgbClr val="0000CC"/>
                </a:solidFill>
                <a:effectLst/>
                <a:uLnTx/>
                <a:uFillTx/>
                <a:latin typeface="Corbel"/>
                <a:ea typeface="+mj-ea"/>
                <a:cs typeface="+mj-cs"/>
              </a:rPr>
              <a:t>Programa M- FP</a:t>
            </a:r>
            <a:br>
              <a:rPr kumimoji="0" lang="es-ES" sz="5200" b="1" i="0" u="none" strike="noStrike" kern="1200" cap="none" spc="-300" normalizeH="0" baseline="0" noProof="0" dirty="0">
                <a:ln>
                  <a:noFill/>
                </a:ln>
                <a:solidFill>
                  <a:srgbClr val="0000CC"/>
                </a:solidFill>
                <a:effectLst/>
                <a:uLnTx/>
                <a:uFillTx/>
                <a:latin typeface="Corbel"/>
                <a:ea typeface="+mj-ea"/>
                <a:cs typeface="+mj-cs"/>
              </a:rPr>
            </a:br>
            <a:r>
              <a:rPr kumimoji="0" lang="es-ES" sz="5200" b="1" i="0" u="none" strike="noStrike" kern="1200" cap="none" spc="-300" normalizeH="0" baseline="0" noProof="0" dirty="0">
                <a:ln>
                  <a:noFill/>
                </a:ln>
                <a:solidFill>
                  <a:srgbClr val="0000CC"/>
                </a:solidFill>
                <a:effectLst/>
                <a:uLnTx/>
                <a:uFillTx/>
                <a:latin typeface="Corbel"/>
                <a:ea typeface="+mj-ea"/>
                <a:cs typeface="+mj-cs"/>
              </a:rPr>
              <a:t>                                                 </a:t>
            </a:r>
            <a:r>
              <a:rPr kumimoji="0" lang="es-ES" sz="3200" b="1" i="0" u="none" strike="noStrike" kern="1200" cap="none" spc="-300" normalizeH="0" baseline="0" noProof="0" dirty="0" err="1">
                <a:ln>
                  <a:noFill/>
                </a:ln>
                <a:solidFill>
                  <a:srgbClr val="0000CC"/>
                </a:solidFill>
                <a:effectLst/>
                <a:uLnTx/>
                <a:uFillTx/>
                <a:latin typeface="Corbel"/>
                <a:ea typeface="+mj-ea"/>
                <a:cs typeface="+mj-cs"/>
              </a:rPr>
              <a:t>My</a:t>
            </a:r>
            <a:r>
              <a:rPr kumimoji="0" lang="es-ES" sz="3200" b="1" i="0" u="none" strike="noStrike" kern="1200" cap="none" spc="-300" normalizeH="0" baseline="0" noProof="0" dirty="0">
                <a:ln>
                  <a:noFill/>
                </a:ln>
                <a:solidFill>
                  <a:srgbClr val="0000CC"/>
                </a:solidFill>
                <a:effectLst/>
                <a:uLnTx/>
                <a:uFillTx/>
                <a:latin typeface="Corbel"/>
                <a:ea typeface="+mj-ea"/>
                <a:cs typeface="+mj-cs"/>
              </a:rPr>
              <a:t> Full </a:t>
            </a:r>
            <a:r>
              <a:rPr kumimoji="0" lang="es-ES" sz="3200" b="1" i="0" u="none" strike="noStrike" kern="1200" cap="none" spc="-300" normalizeH="0" baseline="0" noProof="0" dirty="0" err="1">
                <a:ln>
                  <a:noFill/>
                </a:ln>
                <a:solidFill>
                  <a:srgbClr val="0000CC"/>
                </a:solidFill>
                <a:effectLst/>
                <a:uLnTx/>
                <a:uFillTx/>
                <a:latin typeface="Corbel"/>
                <a:ea typeface="+mj-ea"/>
                <a:cs typeface="+mj-cs"/>
              </a:rPr>
              <a:t>Potential</a:t>
            </a:r>
            <a:endParaRPr kumimoji="0" lang="es-ES" sz="3200" b="1" i="0" u="none" strike="noStrike" kern="1200" cap="none" spc="-300" normalizeH="0" baseline="0" noProof="0" dirty="0">
              <a:ln>
                <a:noFill/>
              </a:ln>
              <a:solidFill>
                <a:srgbClr val="0000CC"/>
              </a:solidFill>
              <a:effectLst/>
              <a:uLnTx/>
              <a:uFillTx/>
              <a:latin typeface="Corbel"/>
              <a:ea typeface="+mj-ea"/>
              <a:cs typeface="+mj-cs"/>
            </a:endParaRPr>
          </a:p>
        </p:txBody>
      </p:sp>
      <p:sp>
        <p:nvSpPr>
          <p:cNvPr id="10" name="Subtítulo 3">
            <a:extLst>
              <a:ext uri="{FF2B5EF4-FFF2-40B4-BE49-F238E27FC236}">
                <a16:creationId xmlns:a16="http://schemas.microsoft.com/office/drawing/2014/main" id="{12B1270C-F633-9796-D54A-4B18D5CA9451}"/>
              </a:ext>
            </a:extLst>
          </p:cNvPr>
          <p:cNvSpPr txBox="1">
            <a:spLocks/>
          </p:cNvSpPr>
          <p:nvPr/>
        </p:nvSpPr>
        <p:spPr>
          <a:xfrm>
            <a:off x="3200400" y="4061039"/>
            <a:ext cx="6580188" cy="892624"/>
          </a:xfrm>
          <a:prstGeom prst="rect">
            <a:avLst/>
          </a:prstGeom>
          <a:solidFill>
            <a:srgbClr val="0000CC">
              <a:alpha val="80000"/>
            </a:srgbClr>
          </a:solidFill>
        </p:spPr>
        <p:txBody>
          <a:bodyPr vert="horz" lIns="180000" tIns="180000" rIns="180000" bIns="180000" rtlCol="0">
            <a:noAutofit/>
          </a:bodyPr>
          <a:lstStyle>
            <a:lvl1pPr marL="0" indent="0" algn="r" defTabSz="914400" rtl="0" eaLnBrk="1" latinLnBrk="0" hangingPunct="1">
              <a:lnSpc>
                <a:spcPct val="90000"/>
              </a:lnSpc>
              <a:spcBef>
                <a:spcPts val="1000"/>
              </a:spcBef>
              <a:buFont typeface="Arial" panose="020B0604020202020204" pitchFamily="34" charset="0"/>
              <a:buNone/>
              <a:defRPr lang="en-ZA" sz="1800" kern="1200" dirty="0">
                <a:solidFill>
                  <a:schemeClr val="bg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1400" b="0" i="0" u="none" strike="noStrike" kern="1200" cap="none" spc="0" normalizeH="0" baseline="0" noProof="0" dirty="0">
              <a:ln>
                <a:noFill/>
              </a:ln>
              <a:solidFill>
                <a:srgbClr val="FFFFFF"/>
              </a:solidFill>
              <a:effectLst/>
              <a:uLnTx/>
              <a:uFillTx/>
              <a:latin typeface="Candara"/>
              <a:ea typeface="+mn-ea"/>
              <a:cs typeface="+mn-cs"/>
            </a:endParaRPr>
          </a:p>
        </p:txBody>
      </p:sp>
      <p:sp>
        <p:nvSpPr>
          <p:cNvPr id="11" name="Cuadro de texto 50">
            <a:extLst>
              <a:ext uri="{FF2B5EF4-FFF2-40B4-BE49-F238E27FC236}">
                <a16:creationId xmlns:a16="http://schemas.microsoft.com/office/drawing/2014/main" id="{1833051D-5018-DEC2-8B44-9059B75ED28A}"/>
              </a:ext>
            </a:extLst>
          </p:cNvPr>
          <p:cNvSpPr txBox="1"/>
          <p:nvPr/>
        </p:nvSpPr>
        <p:spPr>
          <a:xfrm>
            <a:off x="10123954" y="4096768"/>
            <a:ext cx="1724680" cy="1713789"/>
          </a:xfrm>
          <a:prstGeom prst="rect">
            <a:avLst/>
          </a:prstGeom>
          <a:noFill/>
        </p:spPr>
        <p:txBody>
          <a:bodyPr wrap="square" tIns="108000" bIns="0" rtlCol="0" anchor="ctr">
            <a:spAutoFit/>
          </a:bodyPr>
          <a:lstStyle/>
          <a:p>
            <a:pPr algn="ctr">
              <a:lnSpc>
                <a:spcPct val="150000"/>
              </a:lnSpc>
            </a:pPr>
            <a:r>
              <a:rPr lang="es-ES" sz="2400" spc="140" dirty="0">
                <a:solidFill>
                  <a:prstClr val="black">
                    <a:lumMod val="75000"/>
                    <a:lumOff val="25000"/>
                  </a:prstClr>
                </a:solidFill>
                <a:latin typeface="Corbel"/>
              </a:rPr>
              <a:t>Tu camino hacia la excelencia </a:t>
            </a:r>
            <a:endParaRPr lang="es-ES" spc="140" dirty="0">
              <a:solidFill>
                <a:prstClr val="black">
                  <a:lumMod val="75000"/>
                  <a:lumOff val="25000"/>
                </a:prstClr>
              </a:solidFill>
              <a:latin typeface="Corbel"/>
            </a:endParaRPr>
          </a:p>
        </p:txBody>
      </p:sp>
      <p:sp>
        <p:nvSpPr>
          <p:cNvPr id="2" name="CuadroTexto 1">
            <a:extLst>
              <a:ext uri="{FF2B5EF4-FFF2-40B4-BE49-F238E27FC236}">
                <a16:creationId xmlns:a16="http://schemas.microsoft.com/office/drawing/2014/main" id="{A465A6E4-652C-2DC7-86B4-5B8234941BEF}"/>
              </a:ext>
            </a:extLst>
          </p:cNvPr>
          <p:cNvSpPr txBox="1"/>
          <p:nvPr/>
        </p:nvSpPr>
        <p:spPr>
          <a:xfrm>
            <a:off x="3563655" y="4422874"/>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 name="CuadroTexto 2">
            <a:extLst>
              <a:ext uri="{FF2B5EF4-FFF2-40B4-BE49-F238E27FC236}">
                <a16:creationId xmlns:a16="http://schemas.microsoft.com/office/drawing/2014/main" id="{41CDFD70-DE50-1A2C-3F4B-D3109A439ABD}"/>
              </a:ext>
            </a:extLst>
          </p:cNvPr>
          <p:cNvSpPr txBox="1"/>
          <p:nvPr/>
        </p:nvSpPr>
        <p:spPr>
          <a:xfrm>
            <a:off x="3814176" y="4233804"/>
            <a:ext cx="2517731" cy="3416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b="0" i="1" u="none" strike="noStrike" kern="1200" cap="none" spc="0" normalizeH="0" baseline="0" noProof="0" dirty="0">
                <a:ln>
                  <a:noFill/>
                </a:ln>
                <a:solidFill>
                  <a:srgbClr val="FFFFFF"/>
                </a:solidFill>
                <a:effectLst/>
                <a:uLnTx/>
                <a:uFillTx/>
                <a:latin typeface="Candara"/>
                <a:ea typeface="+mn-ea"/>
                <a:cs typeface="+mn-cs"/>
              </a:rPr>
              <a:t>A la Connie Clark </a:t>
            </a:r>
          </a:p>
        </p:txBody>
      </p:sp>
    </p:spTree>
    <p:extLst>
      <p:ext uri="{BB962C8B-B14F-4D97-AF65-F5344CB8AC3E}">
        <p14:creationId xmlns:p14="http://schemas.microsoft.com/office/powerpoint/2010/main" val="40155399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ítulo 3">
            <a:extLst>
              <a:ext uri="{FF2B5EF4-FFF2-40B4-BE49-F238E27FC236}">
                <a16:creationId xmlns:a16="http://schemas.microsoft.com/office/drawing/2014/main" id="{12B1270C-F633-9796-D54A-4B18D5CA9451}"/>
              </a:ext>
            </a:extLst>
          </p:cNvPr>
          <p:cNvSpPr txBox="1">
            <a:spLocks/>
          </p:cNvSpPr>
          <p:nvPr/>
        </p:nvSpPr>
        <p:spPr>
          <a:xfrm>
            <a:off x="0" y="6276108"/>
            <a:ext cx="12192000" cy="581891"/>
          </a:xfrm>
          <a:prstGeom prst="rect">
            <a:avLst/>
          </a:prstGeom>
          <a:solidFill>
            <a:srgbClr val="0000CC">
              <a:alpha val="80000"/>
            </a:srgbClr>
          </a:solidFill>
        </p:spPr>
        <p:txBody>
          <a:bodyPr vert="horz" lIns="180000" tIns="180000" rIns="180000" bIns="180000" rtlCol="0">
            <a:noAutofit/>
          </a:bodyPr>
          <a:lstStyle>
            <a:lvl1pPr marL="0" indent="0" algn="r" defTabSz="914400" rtl="0" eaLnBrk="1" latinLnBrk="0" hangingPunct="1">
              <a:lnSpc>
                <a:spcPct val="90000"/>
              </a:lnSpc>
              <a:spcBef>
                <a:spcPts val="1000"/>
              </a:spcBef>
              <a:buFont typeface="Arial" panose="020B0604020202020204" pitchFamily="34" charset="0"/>
              <a:buNone/>
              <a:defRPr lang="en-ZA" sz="1800" kern="1200" dirty="0">
                <a:solidFill>
                  <a:schemeClr val="bg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1600" b="0" i="1" u="none" strike="noStrike" kern="1200" cap="none" spc="0" normalizeH="0" baseline="0" noProof="0" dirty="0">
              <a:ln>
                <a:noFill/>
              </a:ln>
              <a:solidFill>
                <a:srgbClr val="FFFFFF"/>
              </a:solidFill>
              <a:effectLst/>
              <a:uLnTx/>
              <a:uFillTx/>
              <a:latin typeface="Candara"/>
              <a:ea typeface="+mn-ea"/>
              <a:cs typeface="+mn-cs"/>
            </a:endParaRPr>
          </a:p>
        </p:txBody>
      </p:sp>
      <p:sp>
        <p:nvSpPr>
          <p:cNvPr id="176" name="CaixaDeTexto 1">
            <a:extLst>
              <a:ext uri="{FF2B5EF4-FFF2-40B4-BE49-F238E27FC236}">
                <a16:creationId xmlns:a16="http://schemas.microsoft.com/office/drawing/2014/main" id="{7904F9E7-6A77-80B1-9CDB-2717F95B7975}"/>
              </a:ext>
            </a:extLst>
          </p:cNvPr>
          <p:cNvSpPr txBox="1"/>
          <p:nvPr/>
        </p:nvSpPr>
        <p:spPr>
          <a:xfrm>
            <a:off x="72023" y="48625"/>
            <a:ext cx="12695488" cy="646331"/>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4000" b="1" i="0" u="none" strike="noStrike" kern="1200" cap="none" spc="0" normalizeH="0" baseline="0" noProof="0" dirty="0">
                <a:ln>
                  <a:noFill/>
                </a:ln>
                <a:solidFill>
                  <a:srgbClr val="10069F"/>
                </a:solidFill>
                <a:effectLst/>
                <a:uLnTx/>
                <a:uFillTx/>
                <a:latin typeface="Arial" panose="020B0604020202020204"/>
              </a:rPr>
              <a:t>Modelo M-FP </a:t>
            </a:r>
            <a:endParaRPr kumimoji="0" lang="en-US" sz="4000" b="1" i="0" u="none" strike="noStrike" kern="1200" cap="none" spc="0" normalizeH="0" baseline="0" noProof="0" dirty="0">
              <a:ln>
                <a:noFill/>
              </a:ln>
              <a:solidFill>
                <a:srgbClr val="10069F"/>
              </a:solidFill>
              <a:effectLst/>
              <a:uLnTx/>
              <a:uFillTx/>
              <a:latin typeface="Arial" panose="020B0604020202020204"/>
            </a:endParaRPr>
          </a:p>
        </p:txBody>
      </p:sp>
      <p:sp>
        <p:nvSpPr>
          <p:cNvPr id="28" name="Title 2">
            <a:extLst>
              <a:ext uri="{FF2B5EF4-FFF2-40B4-BE49-F238E27FC236}">
                <a16:creationId xmlns:a16="http://schemas.microsoft.com/office/drawing/2014/main" id="{2E6D0D01-6A0F-C209-2507-315A7F45EFD9}"/>
              </a:ext>
            </a:extLst>
          </p:cNvPr>
          <p:cNvSpPr txBox="1">
            <a:spLocks/>
          </p:cNvSpPr>
          <p:nvPr/>
        </p:nvSpPr>
        <p:spPr>
          <a:xfrm>
            <a:off x="135679" y="833363"/>
            <a:ext cx="11986154" cy="798976"/>
          </a:xfrm>
          <a:prstGeom prst="rect">
            <a:avLst/>
          </a:prstGeom>
        </p:spPr>
        <p:txBody>
          <a:bodyPr vert="horz" lIns="91440" tIns="45720" rIns="91440" bIns="45720" rtlCol="0" anchor="t">
            <a:normAutofit fontScale="82500" lnSpcReduction="20000"/>
          </a:bodyPr>
          <a:lstStyle>
            <a:lvl1pPr algn="l" defTabSz="914400" rtl="0" eaLnBrk="1" latinLnBrk="0" hangingPunct="1">
              <a:lnSpc>
                <a:spcPct val="90000"/>
              </a:lnSpc>
              <a:spcBef>
                <a:spcPct val="0"/>
              </a:spcBef>
              <a:buNone/>
              <a:defRPr sz="3200" b="1" i="0" kern="1200">
                <a:solidFill>
                  <a:srgbClr val="10069F"/>
                </a:solidFill>
                <a:latin typeface="+mj-lt"/>
                <a:ea typeface="Arial Black" panose="020B060402020202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3200" b="1" i="0" u="none" strike="noStrike" kern="1200" cap="none" spc="-300" normalizeH="0" baseline="0" noProof="0" dirty="0" err="1">
                <a:ln>
                  <a:noFill/>
                </a:ln>
                <a:solidFill>
                  <a:srgbClr val="0000CC"/>
                </a:solidFill>
                <a:effectLst/>
                <a:uLnTx/>
                <a:uFillTx/>
                <a:latin typeface="Corbel"/>
                <a:ea typeface="+mn-ea"/>
                <a:cs typeface="+mn-cs"/>
              </a:rPr>
              <a:t>My</a:t>
            </a:r>
            <a:r>
              <a:rPr kumimoji="0" lang="es-ES" sz="3200" b="1" i="0" u="none" strike="noStrike" kern="1200" cap="none" spc="-300" normalizeH="0" baseline="0" noProof="0" dirty="0">
                <a:ln>
                  <a:noFill/>
                </a:ln>
                <a:solidFill>
                  <a:srgbClr val="0000CC"/>
                </a:solidFill>
                <a:effectLst/>
                <a:uLnTx/>
                <a:uFillTx/>
                <a:latin typeface="Corbel"/>
                <a:ea typeface="+mn-ea"/>
                <a:cs typeface="+mn-cs"/>
              </a:rPr>
              <a:t> Full </a:t>
            </a:r>
            <a:r>
              <a:rPr kumimoji="0" lang="es-ES" sz="3200" b="1" i="0" u="none" strike="noStrike" kern="1200" cap="none" spc="-300" normalizeH="0" baseline="0" noProof="0" dirty="0" err="1">
                <a:ln>
                  <a:noFill/>
                </a:ln>
                <a:solidFill>
                  <a:srgbClr val="0000CC"/>
                </a:solidFill>
                <a:effectLst/>
                <a:uLnTx/>
                <a:uFillTx/>
                <a:latin typeface="Corbel"/>
                <a:ea typeface="+mn-ea"/>
                <a:cs typeface="+mn-cs"/>
              </a:rPr>
              <a:t>Potential</a:t>
            </a:r>
            <a:br>
              <a:rPr kumimoji="0" lang="en-US" sz="4000" b="1" i="0" u="none" strike="noStrike" kern="1200" cap="none" spc="0" normalizeH="0" baseline="0" noProof="0" dirty="0">
                <a:ln>
                  <a:noFill/>
                </a:ln>
                <a:solidFill>
                  <a:srgbClr val="10069F"/>
                </a:solidFill>
                <a:effectLst/>
                <a:uLnTx/>
                <a:uFillTx/>
                <a:latin typeface="Arial" panose="020B0604020202020204"/>
              </a:rPr>
            </a:br>
            <a:br>
              <a:rPr kumimoji="0" lang="en-US" sz="2200" b="1" i="0" u="none" strike="noStrike" kern="1200" cap="none" spc="0" normalizeH="0" baseline="0" noProof="0" dirty="0">
                <a:ln>
                  <a:noFill/>
                </a:ln>
                <a:solidFill>
                  <a:srgbClr val="10069F"/>
                </a:solidFill>
                <a:effectLst/>
                <a:uLnTx/>
                <a:uFillTx/>
                <a:latin typeface="Arial" panose="020B0604020202020204"/>
              </a:rPr>
            </a:br>
            <a:r>
              <a:rPr kumimoji="0" lang="en-US" sz="2200" b="1" i="0" u="none" strike="noStrike" kern="1200" cap="none" spc="0" normalizeH="0" baseline="0" noProof="0" dirty="0">
                <a:ln>
                  <a:noFill/>
                </a:ln>
                <a:solidFill>
                  <a:srgbClr val="10069F"/>
                </a:solidFill>
                <a:effectLst/>
                <a:uLnTx/>
                <a:uFillTx/>
                <a:latin typeface="Arial" panose="020B0604020202020204"/>
              </a:rPr>
              <a:t> </a:t>
            </a:r>
          </a:p>
        </p:txBody>
      </p:sp>
      <p:graphicFrame>
        <p:nvGraphicFramePr>
          <p:cNvPr id="29" name="Diagrama 28">
            <a:extLst>
              <a:ext uri="{FF2B5EF4-FFF2-40B4-BE49-F238E27FC236}">
                <a16:creationId xmlns:a16="http://schemas.microsoft.com/office/drawing/2014/main" id="{6967282F-8119-9F22-AFA7-8CA40C99AB66}"/>
              </a:ext>
            </a:extLst>
          </p:cNvPr>
          <p:cNvGraphicFramePr/>
          <p:nvPr>
            <p:extLst>
              <p:ext uri="{D42A27DB-BD31-4B8C-83A1-F6EECF244321}">
                <p14:modId xmlns:p14="http://schemas.microsoft.com/office/powerpoint/2010/main" val="4038003842"/>
              </p:ext>
            </p:extLst>
          </p:nvPr>
        </p:nvGraphicFramePr>
        <p:xfrm>
          <a:off x="-575511" y="1058558"/>
          <a:ext cx="13343022" cy="39971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 name="Rectangle 9">
            <a:extLst>
              <a:ext uri="{FF2B5EF4-FFF2-40B4-BE49-F238E27FC236}">
                <a16:creationId xmlns:a16="http://schemas.microsoft.com/office/drawing/2014/main" id="{F8D69F18-5948-06C2-7297-61778E7B37AD}"/>
              </a:ext>
            </a:extLst>
          </p:cNvPr>
          <p:cNvSpPr/>
          <p:nvPr/>
        </p:nvSpPr>
        <p:spPr>
          <a:xfrm>
            <a:off x="8657633" y="1448434"/>
            <a:ext cx="3521624" cy="2675841"/>
          </a:xfrm>
          <a:prstGeom prst="rect">
            <a:avLst/>
          </a:prstGeom>
          <a:noFill/>
          <a:ln w="12700" cap="flat" cmpd="sng" algn="ctr">
            <a:noFill/>
            <a:prstDash val="solid"/>
            <a:miter lim="800000"/>
          </a:ln>
          <a:effectLst/>
          <a:scene3d>
            <a:camera prst="orthographicFront"/>
            <a:lightRig rig="threePt" dir="t"/>
          </a:scene3d>
          <a:sp3d>
            <a:bevelT prst="relaxedInset"/>
          </a:sp3d>
        </p:spPr>
        <p:txBody>
          <a:bodyPr rtlCol="0" anchor="ct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292929"/>
                </a:solidFill>
                <a:effectLst/>
                <a:uLnTx/>
                <a:uFillTx/>
                <a:latin typeface="Arial" panose="020B0604020202020204"/>
                <a:ea typeface="+mn-ea"/>
                <a:cs typeface="+mn-cs"/>
              </a:rPr>
              <a:t>Support all activities for planning and executing physical inventory in the corrects way and preservation &amp; support all activities to manage a Warehouses</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Inventory Management</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Infrastructure Management</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Safety</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Quality MOVE</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Resources &amp; Capabilities</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Traceability</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Housekeeping</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Customer Service Management</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Transportation</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Security</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Procurement</a:t>
            </a:r>
          </a:p>
        </p:txBody>
      </p:sp>
      <p:sp>
        <p:nvSpPr>
          <p:cNvPr id="31" name="Rectangle 9">
            <a:extLst>
              <a:ext uri="{FF2B5EF4-FFF2-40B4-BE49-F238E27FC236}">
                <a16:creationId xmlns:a16="http://schemas.microsoft.com/office/drawing/2014/main" id="{E04710F0-3C7A-29A5-6C53-D174C044B428}"/>
              </a:ext>
            </a:extLst>
          </p:cNvPr>
          <p:cNvSpPr/>
          <p:nvPr/>
        </p:nvSpPr>
        <p:spPr>
          <a:xfrm>
            <a:off x="299823" y="1426106"/>
            <a:ext cx="2502157" cy="2120167"/>
          </a:xfrm>
          <a:prstGeom prst="rect">
            <a:avLst/>
          </a:prstGeom>
          <a:noFill/>
          <a:ln w="12700" cap="flat" cmpd="sng" algn="ctr">
            <a:noFill/>
            <a:prstDash val="solid"/>
            <a:miter lim="800000"/>
          </a:ln>
          <a:effectLst/>
          <a:scene3d>
            <a:camera prst="orthographicFront"/>
            <a:lightRig rig="threePt" dir="t"/>
          </a:scene3d>
          <a:sp3d>
            <a:bevelT prst="relaxedInset"/>
          </a:sp3d>
        </p:spPr>
        <p:txBody>
          <a:bodyPr rtlCol="0" anchor="ct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292929"/>
                </a:solidFill>
                <a:effectLst/>
                <a:uLnTx/>
                <a:uFillTx/>
                <a:latin typeface="Arial" panose="020B0604020202020204"/>
                <a:ea typeface="+mn-ea"/>
                <a:cs typeface="+mn-cs"/>
              </a:rPr>
              <a:t>Internal movements and storage of materials</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Storage/ Handling</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Picking</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Cross Docking</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Co/Re-Packing </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Quarantine &amp;  Blocked</a:t>
            </a:r>
          </a:p>
        </p:txBody>
      </p:sp>
      <p:sp>
        <p:nvSpPr>
          <p:cNvPr id="64" name="Rectangle 9">
            <a:extLst>
              <a:ext uri="{FF2B5EF4-FFF2-40B4-BE49-F238E27FC236}">
                <a16:creationId xmlns:a16="http://schemas.microsoft.com/office/drawing/2014/main" id="{45286D49-65D6-18A7-EB13-F719A6F95D35}"/>
              </a:ext>
            </a:extLst>
          </p:cNvPr>
          <p:cNvSpPr/>
          <p:nvPr/>
        </p:nvSpPr>
        <p:spPr>
          <a:xfrm>
            <a:off x="370562" y="3759353"/>
            <a:ext cx="2517813" cy="1638143"/>
          </a:xfrm>
          <a:prstGeom prst="rect">
            <a:avLst/>
          </a:prstGeom>
          <a:noFill/>
          <a:ln w="12700" cap="flat" cmpd="sng" algn="ctr">
            <a:noFill/>
            <a:prstDash val="solid"/>
            <a:miter lim="800000"/>
          </a:ln>
          <a:effectLst/>
          <a:scene3d>
            <a:camera prst="orthographicFront"/>
            <a:lightRig rig="threePt" dir="t"/>
          </a:scene3d>
          <a:sp3d>
            <a:bevelT prst="relaxedInset"/>
          </a:sp3d>
        </p:spPr>
        <p:txBody>
          <a:bodyPr rtlCol="0" anchor="ct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292929"/>
                </a:solidFill>
                <a:effectLst/>
                <a:uLnTx/>
                <a:uFillTx/>
                <a:latin typeface="Arial" panose="020B0604020202020204"/>
                <a:ea typeface="+mn-ea"/>
                <a:cs typeface="+mn-cs"/>
              </a:rPr>
              <a:t>Includes all the steps of an external process that occur when the products are received</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Reception/ Receiving</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Put-Away</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Returns</a:t>
            </a:r>
          </a:p>
        </p:txBody>
      </p:sp>
      <p:sp>
        <p:nvSpPr>
          <p:cNvPr id="65" name="Rectangle 9">
            <a:extLst>
              <a:ext uri="{FF2B5EF4-FFF2-40B4-BE49-F238E27FC236}">
                <a16:creationId xmlns:a16="http://schemas.microsoft.com/office/drawing/2014/main" id="{AF9ADDA3-F308-D994-2BF7-32CD4EEDEF28}"/>
              </a:ext>
            </a:extLst>
          </p:cNvPr>
          <p:cNvSpPr/>
          <p:nvPr/>
        </p:nvSpPr>
        <p:spPr>
          <a:xfrm>
            <a:off x="9183141" y="4832397"/>
            <a:ext cx="2638297" cy="1390041"/>
          </a:xfrm>
          <a:prstGeom prst="rect">
            <a:avLst/>
          </a:prstGeom>
          <a:noFill/>
          <a:ln w="12700" cap="flat" cmpd="sng" algn="ctr">
            <a:noFill/>
            <a:prstDash val="solid"/>
            <a:miter lim="800000"/>
          </a:ln>
          <a:effectLst/>
          <a:scene3d>
            <a:camera prst="orthographicFront"/>
            <a:lightRig rig="threePt" dir="t"/>
          </a:scene3d>
          <a:sp3d>
            <a:bevelT prst="relaxedInset"/>
          </a:sp3d>
        </p:spPr>
        <p:txBody>
          <a:bodyPr rtlCol="0" anchor="ct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292929"/>
                </a:solidFill>
                <a:effectLst/>
                <a:uLnTx/>
                <a:uFillTx/>
                <a:latin typeface="Arial" panose="020B0604020202020204"/>
                <a:ea typeface="+mn-ea"/>
                <a:cs typeface="+mn-cs"/>
              </a:rPr>
              <a:t>All the processes to prepares and ship products to their destination</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Load/Shipping</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292929"/>
                </a:solidFill>
                <a:effectLst/>
                <a:uLnTx/>
                <a:uFillTx/>
                <a:latin typeface="Arial" panose="020B0604020202020204"/>
                <a:ea typeface="+mn-ea"/>
                <a:cs typeface="+mn-cs"/>
              </a:rPr>
              <a:t>Packing/Staging</a:t>
            </a:r>
          </a:p>
        </p:txBody>
      </p:sp>
      <p:sp>
        <p:nvSpPr>
          <p:cNvPr id="66" name="Rectángulo: esquinas redondeadas 65">
            <a:extLst>
              <a:ext uri="{FF2B5EF4-FFF2-40B4-BE49-F238E27FC236}">
                <a16:creationId xmlns:a16="http://schemas.microsoft.com/office/drawing/2014/main" id="{4036364E-9906-0DE5-A019-C11061D019FE}"/>
              </a:ext>
            </a:extLst>
          </p:cNvPr>
          <p:cNvSpPr/>
          <p:nvPr/>
        </p:nvSpPr>
        <p:spPr>
          <a:xfrm>
            <a:off x="4942313" y="5113535"/>
            <a:ext cx="2372887" cy="334379"/>
          </a:xfrm>
          <a:prstGeom prst="roundRect">
            <a:avLst/>
          </a:prstGeom>
          <a:solidFill>
            <a:sysClr val="window" lastClr="FFFFFF">
              <a:lumMod val="50000"/>
            </a:sysClr>
          </a:solidFill>
          <a:ln w="12700" cap="flat" cmpd="sng" algn="ctr">
            <a:solidFill>
              <a:srgbClr val="E3D8F2">
                <a:lumMod val="50000"/>
              </a:srgbClr>
            </a:solidFill>
            <a:prstDash val="solid"/>
            <a:miter lim="800000"/>
          </a:ln>
          <a:effectLst/>
          <a:scene3d>
            <a:camera prst="orthographicFront"/>
            <a:lightRig rig="threePt" dir="t"/>
          </a:scene3d>
          <a:sp3d>
            <a:bevelT w="152400" h="50800" prst="softRound"/>
          </a:sp3d>
        </p:spPr>
        <p:txBody>
          <a:bodyPr spcFirstLastPara="0" vert="horz" wrap="square" lIns="8890" tIns="8890" rIns="8890" bIns="8890" numCol="1" spcCol="1270" anchor="ctr" anchorCtr="0">
            <a:noAutofit/>
          </a:bodyPr>
          <a:lstStyle/>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dirty="0" err="1">
                <a:ln>
                  <a:noFill/>
                </a:ln>
                <a:solidFill>
                  <a:prstClr val="white"/>
                </a:solidFill>
                <a:effectLst/>
                <a:uLnTx/>
                <a:uFillTx/>
                <a:latin typeface="Arial" panose="020B0604020202020204"/>
              </a:rPr>
              <a:t>Equilibrui</a:t>
            </a:r>
            <a:r>
              <a:rPr kumimoji="0" lang="en-US" sz="1400" b="1" i="0" u="none" strike="noStrike" kern="0" cap="none" spc="0" normalizeH="0" baseline="0" noProof="0" dirty="0">
                <a:ln>
                  <a:noFill/>
                </a:ln>
                <a:solidFill>
                  <a:prstClr val="white"/>
                </a:solidFill>
                <a:effectLst/>
                <a:uLnTx/>
                <a:uFillTx/>
                <a:latin typeface="Arial" panose="020B0604020202020204"/>
              </a:rPr>
              <a:t> </a:t>
            </a:r>
            <a:r>
              <a:rPr kumimoji="0" lang="en-US" sz="1400" b="1" i="0" u="none" strike="noStrike" kern="0" cap="none" spc="0" normalizeH="0" baseline="0" noProof="0" dirty="0" err="1">
                <a:ln>
                  <a:noFill/>
                </a:ln>
                <a:solidFill>
                  <a:prstClr val="white"/>
                </a:solidFill>
                <a:effectLst/>
                <a:uLnTx/>
                <a:uFillTx/>
                <a:latin typeface="Arial" panose="020B0604020202020204"/>
              </a:rPr>
              <a:t>Emosional</a:t>
            </a:r>
            <a:endParaRPr kumimoji="0" lang="en-US" sz="1400" b="1" i="0" u="none" strike="noStrike" kern="0" cap="none" spc="0" normalizeH="0" baseline="0" noProof="0" dirty="0">
              <a:ln>
                <a:noFill/>
              </a:ln>
              <a:solidFill>
                <a:prstClr val="white"/>
              </a:solidFill>
              <a:effectLst/>
              <a:uLnTx/>
              <a:uFillTx/>
              <a:latin typeface="Arial" panose="020B0604020202020204"/>
            </a:endParaRPr>
          </a:p>
        </p:txBody>
      </p:sp>
      <p:sp>
        <p:nvSpPr>
          <p:cNvPr id="67" name="Rectángulo: esquinas redondeadas 66">
            <a:extLst>
              <a:ext uri="{FF2B5EF4-FFF2-40B4-BE49-F238E27FC236}">
                <a16:creationId xmlns:a16="http://schemas.microsoft.com/office/drawing/2014/main" id="{8D1C311A-C1B0-C876-4D6C-CA51DAECDFAE}"/>
              </a:ext>
            </a:extLst>
          </p:cNvPr>
          <p:cNvSpPr/>
          <p:nvPr/>
        </p:nvSpPr>
        <p:spPr>
          <a:xfrm>
            <a:off x="4948441" y="5527418"/>
            <a:ext cx="2372887" cy="334379"/>
          </a:xfrm>
          <a:prstGeom prst="roundRect">
            <a:avLst/>
          </a:prstGeom>
          <a:solidFill>
            <a:sysClr val="window" lastClr="FFFFFF">
              <a:lumMod val="50000"/>
            </a:sysClr>
          </a:solidFill>
          <a:ln w="12700" cap="flat" cmpd="sng" algn="ctr">
            <a:solidFill>
              <a:srgbClr val="E3D8F2">
                <a:lumMod val="50000"/>
              </a:srgbClr>
            </a:solidFill>
            <a:prstDash val="solid"/>
            <a:miter lim="800000"/>
          </a:ln>
          <a:effectLst/>
          <a:scene3d>
            <a:camera prst="orthographicFront"/>
            <a:lightRig rig="threePt" dir="t"/>
          </a:scene3d>
          <a:sp3d>
            <a:bevelT w="152400" h="50800" prst="softRound"/>
          </a:sp3d>
        </p:spPr>
        <p:txBody>
          <a:bodyPr rot="0" spcFirstLastPara="0" vertOverflow="overflow" horzOverflow="overflow" vert="horz" wrap="square" lIns="8890" tIns="8890" rIns="8890" bIns="8890" numCol="1" spcCol="1270" rtlCol="0" fromWordArt="0" anchor="ctr" anchorCtr="0" forceAA="0" compatLnSpc="1">
            <a:prstTxWarp prst="textNoShape">
              <a:avLst/>
            </a:prstTxWarp>
            <a:noAutofit/>
          </a:bodyPr>
          <a:lstStyle/>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dirty="0" err="1">
                <a:ln>
                  <a:noFill/>
                </a:ln>
                <a:solidFill>
                  <a:prstClr val="white"/>
                </a:solidFill>
                <a:effectLst/>
                <a:uLnTx/>
                <a:uFillTx/>
                <a:latin typeface="Arial" panose="020B0604020202020204"/>
              </a:rPr>
              <a:t>Bienestar</a:t>
            </a:r>
            <a:endParaRPr kumimoji="0" lang="en-US" sz="1400" b="1" i="0" u="none" strike="noStrike" kern="0" cap="none" spc="0" normalizeH="0" baseline="0" noProof="0" dirty="0">
              <a:ln>
                <a:noFill/>
              </a:ln>
              <a:solidFill>
                <a:prstClr val="white"/>
              </a:solidFill>
              <a:effectLst/>
              <a:uLnTx/>
              <a:uFillTx/>
              <a:latin typeface="Arial" panose="020B0604020202020204"/>
            </a:endParaRPr>
          </a:p>
        </p:txBody>
      </p:sp>
      <p:sp>
        <p:nvSpPr>
          <p:cNvPr id="68" name="Rectángulo: esquinas redondeadas 67">
            <a:extLst>
              <a:ext uri="{FF2B5EF4-FFF2-40B4-BE49-F238E27FC236}">
                <a16:creationId xmlns:a16="http://schemas.microsoft.com/office/drawing/2014/main" id="{68E5F997-8215-EF18-C04D-5289269C9765}"/>
              </a:ext>
            </a:extLst>
          </p:cNvPr>
          <p:cNvSpPr/>
          <p:nvPr/>
        </p:nvSpPr>
        <p:spPr>
          <a:xfrm>
            <a:off x="4942313" y="5934079"/>
            <a:ext cx="2372887" cy="334379"/>
          </a:xfrm>
          <a:prstGeom prst="roundRect">
            <a:avLst/>
          </a:prstGeom>
          <a:solidFill>
            <a:sysClr val="window" lastClr="FFFFFF">
              <a:lumMod val="50000"/>
            </a:sysClr>
          </a:solidFill>
          <a:ln w="12700" cap="flat" cmpd="sng" algn="ctr">
            <a:solidFill>
              <a:srgbClr val="E3D8F2">
                <a:lumMod val="50000"/>
              </a:srgbClr>
            </a:solidFill>
            <a:prstDash val="solid"/>
            <a:miter lim="800000"/>
          </a:ln>
          <a:effectLst/>
          <a:scene3d>
            <a:camera prst="orthographicFront"/>
            <a:lightRig rig="threePt" dir="t"/>
          </a:scene3d>
          <a:sp3d>
            <a:bevelT w="152400" h="50800" prst="softRound"/>
          </a:sp3d>
        </p:spPr>
        <p:txBody>
          <a:bodyPr rot="0" spcFirstLastPara="0" vertOverflow="overflow" horzOverflow="overflow" vert="horz" wrap="square" lIns="8890" tIns="8890" rIns="8890" bIns="8890" numCol="1" spcCol="1270" rtlCol="0" fromWordArt="0" anchor="ctr" anchorCtr="0" forceAA="0" compatLnSpc="1">
            <a:prstTxWarp prst="textNoShape">
              <a:avLst/>
            </a:prstTxWarp>
            <a:noAutofit/>
          </a:bodyPr>
          <a:lstStyle/>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dirty="0" err="1">
                <a:ln>
                  <a:noFill/>
                </a:ln>
                <a:solidFill>
                  <a:prstClr val="white"/>
                </a:solidFill>
                <a:effectLst/>
                <a:uLnTx/>
                <a:uFillTx/>
                <a:latin typeface="Arial" panose="020B0604020202020204"/>
              </a:rPr>
              <a:t>Relaciones</a:t>
            </a:r>
            <a:r>
              <a:rPr kumimoji="0" lang="en-US" sz="1400" b="1" i="0" u="none" strike="noStrike" kern="0" cap="none" spc="0" normalizeH="0" baseline="0" noProof="0" dirty="0">
                <a:ln>
                  <a:noFill/>
                </a:ln>
                <a:solidFill>
                  <a:prstClr val="white"/>
                </a:solidFill>
                <a:effectLst/>
                <a:uLnTx/>
                <a:uFillTx/>
                <a:latin typeface="Arial" panose="020B0604020202020204"/>
              </a:rPr>
              <a:t> </a:t>
            </a:r>
            <a:r>
              <a:rPr kumimoji="0" lang="en-US" sz="1400" b="1" i="0" u="none" strike="noStrike" kern="0" cap="none" spc="0" normalizeH="0" baseline="0" noProof="0" dirty="0" err="1">
                <a:ln>
                  <a:noFill/>
                </a:ln>
                <a:solidFill>
                  <a:prstClr val="white"/>
                </a:solidFill>
                <a:effectLst/>
                <a:uLnTx/>
                <a:uFillTx/>
                <a:latin typeface="Arial" panose="020B0604020202020204"/>
              </a:rPr>
              <a:t>Sanas</a:t>
            </a:r>
            <a:r>
              <a:rPr kumimoji="0" lang="en-US" sz="1400" b="1" i="0" u="none" strike="noStrike" kern="0" cap="none" spc="0" normalizeH="0" baseline="0" noProof="0" dirty="0">
                <a:ln>
                  <a:noFill/>
                </a:ln>
                <a:solidFill>
                  <a:prstClr val="white"/>
                </a:solidFill>
                <a:effectLst/>
                <a:uLnTx/>
                <a:uFillTx/>
                <a:latin typeface="Arial" panose="020B0604020202020204"/>
              </a:rPr>
              <a:t> </a:t>
            </a:r>
          </a:p>
        </p:txBody>
      </p:sp>
      <p:cxnSp>
        <p:nvCxnSpPr>
          <p:cNvPr id="69" name="Straight Connector 23">
            <a:extLst>
              <a:ext uri="{FF2B5EF4-FFF2-40B4-BE49-F238E27FC236}">
                <a16:creationId xmlns:a16="http://schemas.microsoft.com/office/drawing/2014/main" id="{01691E5E-0A77-1C5E-BFD7-AA77B49284CB}"/>
              </a:ext>
            </a:extLst>
          </p:cNvPr>
          <p:cNvCxnSpPr>
            <a:cxnSpLocks/>
          </p:cNvCxnSpPr>
          <p:nvPr/>
        </p:nvCxnSpPr>
        <p:spPr>
          <a:xfrm>
            <a:off x="2764439" y="3057134"/>
            <a:ext cx="2318029" cy="0"/>
          </a:xfrm>
          <a:prstGeom prst="line">
            <a:avLst/>
          </a:prstGeom>
          <a:noFill/>
          <a:ln w="38100" cap="flat" cmpd="sng" algn="ctr">
            <a:solidFill>
              <a:srgbClr val="EE3744">
                <a:lumMod val="60000"/>
                <a:lumOff val="40000"/>
              </a:srgbClr>
            </a:solidFill>
            <a:prstDash val="solid"/>
            <a:miter lim="800000"/>
          </a:ln>
          <a:effectLst/>
        </p:spPr>
      </p:cxnSp>
      <p:cxnSp>
        <p:nvCxnSpPr>
          <p:cNvPr id="70" name="Straight Connector 23">
            <a:extLst>
              <a:ext uri="{FF2B5EF4-FFF2-40B4-BE49-F238E27FC236}">
                <a16:creationId xmlns:a16="http://schemas.microsoft.com/office/drawing/2014/main" id="{29B33DF6-9257-EDC6-07A5-6B475957F951}"/>
              </a:ext>
            </a:extLst>
          </p:cNvPr>
          <p:cNvCxnSpPr>
            <a:cxnSpLocks/>
          </p:cNvCxnSpPr>
          <p:nvPr/>
        </p:nvCxnSpPr>
        <p:spPr>
          <a:xfrm>
            <a:off x="7884321" y="4925056"/>
            <a:ext cx="1298820" cy="0"/>
          </a:xfrm>
          <a:prstGeom prst="line">
            <a:avLst/>
          </a:prstGeom>
          <a:noFill/>
          <a:ln w="38100" cap="flat" cmpd="sng" algn="ctr">
            <a:solidFill>
              <a:srgbClr val="00B0F0"/>
            </a:solidFill>
            <a:prstDash val="solid"/>
            <a:miter lim="800000"/>
          </a:ln>
          <a:effectLst/>
        </p:spPr>
      </p:cxnSp>
      <p:cxnSp>
        <p:nvCxnSpPr>
          <p:cNvPr id="71" name="Straight Connector 23">
            <a:extLst>
              <a:ext uri="{FF2B5EF4-FFF2-40B4-BE49-F238E27FC236}">
                <a16:creationId xmlns:a16="http://schemas.microsoft.com/office/drawing/2014/main" id="{7BCC3A17-5A4A-5AE8-6060-C432D5867FEB}"/>
              </a:ext>
            </a:extLst>
          </p:cNvPr>
          <p:cNvCxnSpPr>
            <a:cxnSpLocks/>
          </p:cNvCxnSpPr>
          <p:nvPr/>
        </p:nvCxnSpPr>
        <p:spPr>
          <a:xfrm>
            <a:off x="2882044" y="4326336"/>
            <a:ext cx="1614891" cy="0"/>
          </a:xfrm>
          <a:prstGeom prst="line">
            <a:avLst/>
          </a:prstGeom>
          <a:noFill/>
          <a:ln w="38100" cap="flat" cmpd="sng" algn="ctr">
            <a:solidFill>
              <a:srgbClr val="33D196"/>
            </a:solidFill>
            <a:prstDash val="solid"/>
            <a:miter lim="800000"/>
          </a:ln>
          <a:effectLst/>
        </p:spPr>
      </p:cxnSp>
      <p:cxnSp>
        <p:nvCxnSpPr>
          <p:cNvPr id="72" name="Straight Connector 23">
            <a:extLst>
              <a:ext uri="{FF2B5EF4-FFF2-40B4-BE49-F238E27FC236}">
                <a16:creationId xmlns:a16="http://schemas.microsoft.com/office/drawing/2014/main" id="{C57B46C6-7350-D7AB-7DB9-82F7AC585D8A}"/>
              </a:ext>
            </a:extLst>
          </p:cNvPr>
          <p:cNvCxnSpPr>
            <a:cxnSpLocks/>
          </p:cNvCxnSpPr>
          <p:nvPr/>
        </p:nvCxnSpPr>
        <p:spPr>
          <a:xfrm>
            <a:off x="6605337" y="2060389"/>
            <a:ext cx="1950834" cy="0"/>
          </a:xfrm>
          <a:prstGeom prst="line">
            <a:avLst/>
          </a:prstGeom>
          <a:noFill/>
          <a:ln w="38100" cap="flat" cmpd="sng" algn="ctr">
            <a:solidFill>
              <a:srgbClr val="E3D8F2">
                <a:lumMod val="50000"/>
              </a:srgbClr>
            </a:solidFill>
            <a:prstDash val="solid"/>
            <a:miter lim="800000"/>
          </a:ln>
          <a:effectLst/>
        </p:spPr>
      </p:cxnSp>
      <p:cxnSp>
        <p:nvCxnSpPr>
          <p:cNvPr id="73" name="Straight Connector 23">
            <a:extLst>
              <a:ext uri="{FF2B5EF4-FFF2-40B4-BE49-F238E27FC236}">
                <a16:creationId xmlns:a16="http://schemas.microsoft.com/office/drawing/2014/main" id="{D917F746-BB35-9174-7341-49490F6AC6B6}"/>
              </a:ext>
            </a:extLst>
          </p:cNvPr>
          <p:cNvCxnSpPr>
            <a:cxnSpLocks/>
          </p:cNvCxnSpPr>
          <p:nvPr/>
        </p:nvCxnSpPr>
        <p:spPr>
          <a:xfrm flipV="1">
            <a:off x="2874028" y="3759353"/>
            <a:ext cx="0" cy="1521371"/>
          </a:xfrm>
          <a:prstGeom prst="line">
            <a:avLst/>
          </a:prstGeom>
          <a:noFill/>
          <a:ln w="38100" cap="flat" cmpd="sng" algn="ctr">
            <a:solidFill>
              <a:srgbClr val="33D196"/>
            </a:solidFill>
            <a:prstDash val="solid"/>
            <a:miter lim="800000"/>
          </a:ln>
          <a:effectLst/>
        </p:spPr>
      </p:cxnSp>
      <p:cxnSp>
        <p:nvCxnSpPr>
          <p:cNvPr id="74" name="Straight Connector 23">
            <a:extLst>
              <a:ext uri="{FF2B5EF4-FFF2-40B4-BE49-F238E27FC236}">
                <a16:creationId xmlns:a16="http://schemas.microsoft.com/office/drawing/2014/main" id="{836387B4-80C2-DC0E-F1CE-04A598E7761E}"/>
              </a:ext>
            </a:extLst>
          </p:cNvPr>
          <p:cNvCxnSpPr>
            <a:cxnSpLocks/>
          </p:cNvCxnSpPr>
          <p:nvPr/>
        </p:nvCxnSpPr>
        <p:spPr>
          <a:xfrm flipV="1">
            <a:off x="2764439" y="1628194"/>
            <a:ext cx="0" cy="1756114"/>
          </a:xfrm>
          <a:prstGeom prst="line">
            <a:avLst/>
          </a:prstGeom>
          <a:noFill/>
          <a:ln w="38100" cap="flat" cmpd="sng" algn="ctr">
            <a:solidFill>
              <a:srgbClr val="EE3744">
                <a:lumMod val="60000"/>
                <a:lumOff val="40000"/>
              </a:srgbClr>
            </a:solidFill>
            <a:prstDash val="solid"/>
            <a:miter lim="800000"/>
          </a:ln>
          <a:effectLst/>
        </p:spPr>
      </p:cxnSp>
      <p:cxnSp>
        <p:nvCxnSpPr>
          <p:cNvPr id="75" name="Straight Connector 23">
            <a:extLst>
              <a:ext uri="{FF2B5EF4-FFF2-40B4-BE49-F238E27FC236}">
                <a16:creationId xmlns:a16="http://schemas.microsoft.com/office/drawing/2014/main" id="{6964ACCD-EFF5-7A06-3151-14D76EC626D7}"/>
              </a:ext>
            </a:extLst>
          </p:cNvPr>
          <p:cNvCxnSpPr>
            <a:cxnSpLocks/>
          </p:cNvCxnSpPr>
          <p:nvPr/>
        </p:nvCxnSpPr>
        <p:spPr>
          <a:xfrm flipV="1">
            <a:off x="9169191" y="4864653"/>
            <a:ext cx="0" cy="1221830"/>
          </a:xfrm>
          <a:prstGeom prst="line">
            <a:avLst/>
          </a:prstGeom>
          <a:noFill/>
          <a:ln w="38100" cap="flat" cmpd="sng" algn="ctr">
            <a:solidFill>
              <a:srgbClr val="00B0F0"/>
            </a:solidFill>
            <a:prstDash val="solid"/>
            <a:miter lim="800000"/>
          </a:ln>
          <a:effectLst/>
        </p:spPr>
      </p:cxnSp>
      <p:cxnSp>
        <p:nvCxnSpPr>
          <p:cNvPr id="76" name="Straight Connector 23">
            <a:extLst>
              <a:ext uri="{FF2B5EF4-FFF2-40B4-BE49-F238E27FC236}">
                <a16:creationId xmlns:a16="http://schemas.microsoft.com/office/drawing/2014/main" id="{A6161B40-53CE-04EE-0CA5-172E5E5CFBB8}"/>
              </a:ext>
            </a:extLst>
          </p:cNvPr>
          <p:cNvCxnSpPr>
            <a:cxnSpLocks/>
          </p:cNvCxnSpPr>
          <p:nvPr/>
        </p:nvCxnSpPr>
        <p:spPr>
          <a:xfrm flipH="1" flipV="1">
            <a:off x="8585584" y="925978"/>
            <a:ext cx="29415" cy="3254136"/>
          </a:xfrm>
          <a:prstGeom prst="line">
            <a:avLst/>
          </a:prstGeom>
          <a:noFill/>
          <a:ln w="38100" cap="flat" cmpd="sng" algn="ctr">
            <a:solidFill>
              <a:srgbClr val="E3D8F2">
                <a:lumMod val="50000"/>
              </a:srgbClr>
            </a:solidFill>
            <a:prstDash val="solid"/>
            <a:miter lim="800000"/>
          </a:ln>
          <a:effectLst/>
        </p:spPr>
      </p:cxnSp>
      <p:sp>
        <p:nvSpPr>
          <p:cNvPr id="77" name="Flecha: a la derecha 76">
            <a:extLst>
              <a:ext uri="{FF2B5EF4-FFF2-40B4-BE49-F238E27FC236}">
                <a16:creationId xmlns:a16="http://schemas.microsoft.com/office/drawing/2014/main" id="{D67F5A2F-4897-0B0B-804F-E09D0FC33D68}"/>
              </a:ext>
            </a:extLst>
          </p:cNvPr>
          <p:cNvSpPr/>
          <p:nvPr/>
        </p:nvSpPr>
        <p:spPr>
          <a:xfrm>
            <a:off x="5196513" y="3946360"/>
            <a:ext cx="1876922" cy="355830"/>
          </a:xfrm>
          <a:prstGeom prst="rightArrow">
            <a:avLst/>
          </a:prstGeom>
          <a:solidFill>
            <a:sysClr val="window" lastClr="FFFFFF">
              <a:lumMod val="85000"/>
            </a:sysClr>
          </a:solidFill>
          <a:ln w="12700" cap="flat" cmpd="sng" algn="ctr">
            <a:solidFill>
              <a:srgbClr val="E7E6E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latin typeface="Arial" panose="020B0604020202020204"/>
              <a:ea typeface="+mn-ea"/>
              <a:cs typeface="+mn-cs"/>
            </a:endParaRPr>
          </a:p>
        </p:txBody>
      </p:sp>
      <p:sp>
        <p:nvSpPr>
          <p:cNvPr id="78" name="Flecha: a la derecha 77">
            <a:extLst>
              <a:ext uri="{FF2B5EF4-FFF2-40B4-BE49-F238E27FC236}">
                <a16:creationId xmlns:a16="http://schemas.microsoft.com/office/drawing/2014/main" id="{30B55578-0BEC-C027-C586-29451171FAC3}"/>
              </a:ext>
            </a:extLst>
          </p:cNvPr>
          <p:cNvSpPr/>
          <p:nvPr/>
        </p:nvSpPr>
        <p:spPr>
          <a:xfrm rot="16200000">
            <a:off x="5938315" y="2875476"/>
            <a:ext cx="380883" cy="301972"/>
          </a:xfrm>
          <a:prstGeom prst="rightArrow">
            <a:avLst/>
          </a:prstGeom>
          <a:solidFill>
            <a:sysClr val="window" lastClr="FFFFFF">
              <a:lumMod val="85000"/>
            </a:sysClr>
          </a:solidFill>
          <a:ln w="12700" cap="flat" cmpd="sng" algn="ctr">
            <a:solidFill>
              <a:srgbClr val="E7E6E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latin typeface="Arial" panose="020B0604020202020204"/>
              <a:ea typeface="+mn-ea"/>
              <a:cs typeface="+mn-cs"/>
            </a:endParaRPr>
          </a:p>
        </p:txBody>
      </p:sp>
      <p:sp>
        <p:nvSpPr>
          <p:cNvPr id="79" name="Flecha: a la derecha 78">
            <a:extLst>
              <a:ext uri="{FF2B5EF4-FFF2-40B4-BE49-F238E27FC236}">
                <a16:creationId xmlns:a16="http://schemas.microsoft.com/office/drawing/2014/main" id="{1DED7E92-93CC-8853-26B1-51BAE50B7922}"/>
              </a:ext>
            </a:extLst>
          </p:cNvPr>
          <p:cNvSpPr/>
          <p:nvPr/>
        </p:nvSpPr>
        <p:spPr>
          <a:xfrm rot="17628540">
            <a:off x="5069577" y="2892940"/>
            <a:ext cx="380883" cy="301972"/>
          </a:xfrm>
          <a:prstGeom prst="rightArrow">
            <a:avLst/>
          </a:prstGeom>
          <a:solidFill>
            <a:sysClr val="window" lastClr="FFFFFF">
              <a:lumMod val="85000"/>
            </a:sysClr>
          </a:solidFill>
          <a:ln w="12700" cap="flat" cmpd="sng" algn="ctr">
            <a:solidFill>
              <a:srgbClr val="E7E6E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latin typeface="Arial" panose="020B0604020202020204"/>
              <a:ea typeface="+mn-ea"/>
              <a:cs typeface="+mn-cs"/>
            </a:endParaRPr>
          </a:p>
        </p:txBody>
      </p:sp>
      <p:sp>
        <p:nvSpPr>
          <p:cNvPr id="80" name="Flecha: a la derecha 79">
            <a:extLst>
              <a:ext uri="{FF2B5EF4-FFF2-40B4-BE49-F238E27FC236}">
                <a16:creationId xmlns:a16="http://schemas.microsoft.com/office/drawing/2014/main" id="{98A6142B-1277-F3AB-D40D-D4AF071D5545}"/>
              </a:ext>
            </a:extLst>
          </p:cNvPr>
          <p:cNvSpPr/>
          <p:nvPr/>
        </p:nvSpPr>
        <p:spPr>
          <a:xfrm rot="14170453">
            <a:off x="6737519" y="2897136"/>
            <a:ext cx="380883" cy="301972"/>
          </a:xfrm>
          <a:prstGeom prst="rightArrow">
            <a:avLst/>
          </a:prstGeom>
          <a:solidFill>
            <a:sysClr val="window" lastClr="FFFFFF">
              <a:lumMod val="85000"/>
            </a:sysClr>
          </a:solidFill>
          <a:ln w="12700" cap="flat" cmpd="sng" algn="ctr">
            <a:solidFill>
              <a:srgbClr val="E7E6E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latin typeface="Arial" panose="020B0604020202020204"/>
              <a:ea typeface="+mn-ea"/>
              <a:cs typeface="+mn-cs"/>
            </a:endParaRPr>
          </a:p>
        </p:txBody>
      </p:sp>
      <p:sp>
        <p:nvSpPr>
          <p:cNvPr id="81" name="Flecha: curvada hacia la izquierda 80">
            <a:extLst>
              <a:ext uri="{FF2B5EF4-FFF2-40B4-BE49-F238E27FC236}">
                <a16:creationId xmlns:a16="http://schemas.microsoft.com/office/drawing/2014/main" id="{5AFDA5B0-7B71-9542-EDB6-86ED7D2AB23B}"/>
              </a:ext>
            </a:extLst>
          </p:cNvPr>
          <p:cNvSpPr/>
          <p:nvPr/>
        </p:nvSpPr>
        <p:spPr>
          <a:xfrm>
            <a:off x="7442522" y="5280724"/>
            <a:ext cx="289770" cy="334379"/>
          </a:xfrm>
          <a:prstGeom prst="curvedLeftArrow">
            <a:avLst/>
          </a:prstGeom>
          <a:solidFill>
            <a:sysClr val="window" lastClr="FFFFFF">
              <a:lumMod val="65000"/>
            </a:sysClr>
          </a:solidFill>
          <a:ln w="12700" cap="flat" cmpd="sng" algn="ctr">
            <a:solidFill>
              <a:srgbClr val="10069F">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latin typeface="Arial" panose="020B0604020202020204"/>
              <a:ea typeface="+mn-ea"/>
              <a:cs typeface="+mn-cs"/>
            </a:endParaRPr>
          </a:p>
        </p:txBody>
      </p:sp>
      <p:sp>
        <p:nvSpPr>
          <p:cNvPr id="82" name="Flecha: curvada hacia la izquierda 81">
            <a:extLst>
              <a:ext uri="{FF2B5EF4-FFF2-40B4-BE49-F238E27FC236}">
                <a16:creationId xmlns:a16="http://schemas.microsoft.com/office/drawing/2014/main" id="{0917417E-2117-C78C-BBC5-D573A05D7007}"/>
              </a:ext>
            </a:extLst>
          </p:cNvPr>
          <p:cNvSpPr/>
          <p:nvPr/>
        </p:nvSpPr>
        <p:spPr>
          <a:xfrm>
            <a:off x="7442522" y="5741031"/>
            <a:ext cx="289770" cy="334379"/>
          </a:xfrm>
          <a:prstGeom prst="curvedLeftArrow">
            <a:avLst/>
          </a:prstGeom>
          <a:solidFill>
            <a:sysClr val="window" lastClr="FFFFFF">
              <a:lumMod val="65000"/>
            </a:sysClr>
          </a:solidFill>
          <a:ln w="12700" cap="flat" cmpd="sng" algn="ctr">
            <a:solidFill>
              <a:srgbClr val="10069F">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latin typeface="Arial" panose="020B0604020202020204"/>
              <a:ea typeface="+mn-ea"/>
              <a:cs typeface="+mn-cs"/>
            </a:endParaRPr>
          </a:p>
        </p:txBody>
      </p:sp>
      <p:sp>
        <p:nvSpPr>
          <p:cNvPr id="2" name="CuadroTexto 1">
            <a:extLst>
              <a:ext uri="{FF2B5EF4-FFF2-40B4-BE49-F238E27FC236}">
                <a16:creationId xmlns:a16="http://schemas.microsoft.com/office/drawing/2014/main" id="{95532228-3B14-A680-FB46-BDC60E130B67}"/>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5" name="CuadroTexto 4">
            <a:extLst>
              <a:ext uri="{FF2B5EF4-FFF2-40B4-BE49-F238E27FC236}">
                <a16:creationId xmlns:a16="http://schemas.microsoft.com/office/drawing/2014/main" id="{D6E3B2B7-0B59-8372-AB37-997DBF5D67AE}"/>
              </a:ext>
            </a:extLst>
          </p:cNvPr>
          <p:cNvSpPr txBox="1"/>
          <p:nvPr/>
        </p:nvSpPr>
        <p:spPr>
          <a:xfrm>
            <a:off x="-187891" y="6289202"/>
            <a:ext cx="2517731" cy="3139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600" b="0" i="1" u="none" strike="noStrike" kern="1200" cap="none" spc="0" normalizeH="0" baseline="0" noProof="0" dirty="0">
                <a:ln>
                  <a:noFill/>
                </a:ln>
                <a:solidFill>
                  <a:srgbClr val="FFFFFF"/>
                </a:solidFill>
                <a:effectLst/>
                <a:uLnTx/>
                <a:uFillTx/>
                <a:latin typeface="Candara"/>
                <a:ea typeface="+mn-ea"/>
                <a:cs typeface="+mn-cs"/>
              </a:rPr>
              <a:t>A la Connie Clark </a:t>
            </a:r>
          </a:p>
        </p:txBody>
      </p:sp>
      <p:sp>
        <p:nvSpPr>
          <p:cNvPr id="3" name="Título 1">
            <a:extLst>
              <a:ext uri="{FF2B5EF4-FFF2-40B4-BE49-F238E27FC236}">
                <a16:creationId xmlns:a16="http://schemas.microsoft.com/office/drawing/2014/main" id="{E4895F33-E0D7-9A50-9CEB-A271419E586D}"/>
              </a:ext>
            </a:extLst>
          </p:cNvPr>
          <p:cNvSpPr txBox="1">
            <a:spLocks/>
          </p:cNvSpPr>
          <p:nvPr/>
        </p:nvSpPr>
        <p:spPr>
          <a:xfrm>
            <a:off x="3688645" y="61447"/>
            <a:ext cx="9323475" cy="673448"/>
          </a:xfrm>
          <a:prstGeom prst="rect">
            <a:avLst/>
          </a:prstGeom>
        </p:spPr>
        <p:txBody>
          <a:bodyPr vert="horz" lIns="91440" tIns="45720" rIns="91440" bIns="45720" rtlCol="0" anchor="t">
            <a:normAutofit fontScale="92500"/>
          </a:bodyPr>
          <a:lstStyle>
            <a:lvl1pPr algn="l" defTabSz="914400" rtl="0" eaLnBrk="1" latinLnBrk="0" hangingPunct="1">
              <a:lnSpc>
                <a:spcPct val="90000"/>
              </a:lnSpc>
              <a:spcBef>
                <a:spcPct val="0"/>
              </a:spcBef>
              <a:buNone/>
              <a:defRPr sz="3200" b="1" i="0" kern="1200">
                <a:solidFill>
                  <a:srgbClr val="10069F"/>
                </a:solidFill>
                <a:latin typeface="+mj-lt"/>
                <a:ea typeface="Arial Black" panose="020B0604020202020204" pitchFamily="34" charset="0"/>
                <a:cs typeface="Arial Black" panose="020B0604020202020204" pitchFamily="34" charset="0"/>
              </a:defRPr>
            </a:lvl1pPr>
          </a:lstStyle>
          <a:p>
            <a:pPr>
              <a:defRPr/>
            </a:pPr>
            <a:r>
              <a:rPr lang="es-AR" sz="4000" dirty="0">
                <a:latin typeface="Arial" panose="020B0604020202020204"/>
              </a:rPr>
              <a:t>Tipos de Procesos Desarrollo Personal</a:t>
            </a:r>
            <a:endParaRPr lang="en-US" sz="4000" dirty="0">
              <a:latin typeface="Arial" panose="020B0604020202020204"/>
            </a:endParaRPr>
          </a:p>
        </p:txBody>
      </p:sp>
    </p:spTree>
    <p:extLst>
      <p:ext uri="{BB962C8B-B14F-4D97-AF65-F5344CB8AC3E}">
        <p14:creationId xmlns:p14="http://schemas.microsoft.com/office/powerpoint/2010/main" val="39584620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ítulo 3">
            <a:extLst>
              <a:ext uri="{FF2B5EF4-FFF2-40B4-BE49-F238E27FC236}">
                <a16:creationId xmlns:a16="http://schemas.microsoft.com/office/drawing/2014/main" id="{12B1270C-F633-9796-D54A-4B18D5CA9451}"/>
              </a:ext>
            </a:extLst>
          </p:cNvPr>
          <p:cNvSpPr txBox="1">
            <a:spLocks/>
          </p:cNvSpPr>
          <p:nvPr/>
        </p:nvSpPr>
        <p:spPr>
          <a:xfrm>
            <a:off x="0" y="6276108"/>
            <a:ext cx="12192000" cy="581891"/>
          </a:xfrm>
          <a:prstGeom prst="rect">
            <a:avLst/>
          </a:prstGeom>
          <a:solidFill>
            <a:srgbClr val="0000CC">
              <a:alpha val="80000"/>
            </a:srgbClr>
          </a:solidFill>
        </p:spPr>
        <p:txBody>
          <a:bodyPr vert="horz" lIns="180000" tIns="180000" rIns="180000" bIns="180000" rtlCol="0">
            <a:noAutofit/>
          </a:bodyPr>
          <a:lstStyle>
            <a:lvl1pPr marL="0" indent="0" algn="r" defTabSz="914400" rtl="0" eaLnBrk="1" latinLnBrk="0" hangingPunct="1">
              <a:lnSpc>
                <a:spcPct val="90000"/>
              </a:lnSpc>
              <a:spcBef>
                <a:spcPts val="1000"/>
              </a:spcBef>
              <a:buFont typeface="Arial" panose="020B0604020202020204" pitchFamily="34" charset="0"/>
              <a:buNone/>
              <a:defRPr lang="en-ZA" sz="1800" kern="1200" dirty="0">
                <a:solidFill>
                  <a:schemeClr val="bg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1600" b="0" i="1" u="none" strike="noStrike" kern="1200" cap="none" spc="0" normalizeH="0" baseline="0" noProof="0" dirty="0">
              <a:ln>
                <a:noFill/>
              </a:ln>
              <a:solidFill>
                <a:srgbClr val="FFFFFF"/>
              </a:solidFill>
              <a:effectLst/>
              <a:uLnTx/>
              <a:uFillTx/>
              <a:latin typeface="Candara"/>
              <a:ea typeface="+mn-ea"/>
              <a:cs typeface="+mn-cs"/>
            </a:endParaRPr>
          </a:p>
        </p:txBody>
      </p:sp>
      <p:sp>
        <p:nvSpPr>
          <p:cNvPr id="85" name="Pie 30">
            <a:extLst>
              <a:ext uri="{FF2B5EF4-FFF2-40B4-BE49-F238E27FC236}">
                <a16:creationId xmlns:a16="http://schemas.microsoft.com/office/drawing/2014/main" id="{1CFFAF8D-67F2-DF15-F82F-870FA99E3431}"/>
              </a:ext>
            </a:extLst>
          </p:cNvPr>
          <p:cNvSpPr/>
          <p:nvPr/>
        </p:nvSpPr>
        <p:spPr>
          <a:xfrm rot="17934326">
            <a:off x="8008270" y="5774573"/>
            <a:ext cx="743712" cy="743712"/>
          </a:xfrm>
          <a:prstGeom prst="pie">
            <a:avLst>
              <a:gd name="adj1" fmla="val 0"/>
              <a:gd name="adj2" fmla="val 8839672"/>
            </a:avLst>
          </a:prstGeom>
          <a:solidFill>
            <a:srgbClr val="BED2F3">
              <a:lumMod val="75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86" name="Pie 66">
            <a:extLst>
              <a:ext uri="{FF2B5EF4-FFF2-40B4-BE49-F238E27FC236}">
                <a16:creationId xmlns:a16="http://schemas.microsoft.com/office/drawing/2014/main" id="{B02BF1D3-E738-C943-5EE9-A726C31F8940}"/>
              </a:ext>
            </a:extLst>
          </p:cNvPr>
          <p:cNvSpPr/>
          <p:nvPr/>
        </p:nvSpPr>
        <p:spPr>
          <a:xfrm rot="21274308">
            <a:off x="7052532" y="5967483"/>
            <a:ext cx="743712" cy="743712"/>
          </a:xfrm>
          <a:prstGeom prst="pie">
            <a:avLst>
              <a:gd name="adj1" fmla="val 0"/>
              <a:gd name="adj2" fmla="val 12778483"/>
            </a:avLst>
          </a:prstGeom>
          <a:solidFill>
            <a:srgbClr val="BED2F3">
              <a:lumMod val="75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87" name="Pie 66">
            <a:extLst>
              <a:ext uri="{FF2B5EF4-FFF2-40B4-BE49-F238E27FC236}">
                <a16:creationId xmlns:a16="http://schemas.microsoft.com/office/drawing/2014/main" id="{48409EDB-6031-5382-6A9D-6B2745D8F10D}"/>
              </a:ext>
            </a:extLst>
          </p:cNvPr>
          <p:cNvSpPr/>
          <p:nvPr/>
        </p:nvSpPr>
        <p:spPr>
          <a:xfrm rot="2479896">
            <a:off x="6094653" y="5719166"/>
            <a:ext cx="743712" cy="743712"/>
          </a:xfrm>
          <a:prstGeom prst="pie">
            <a:avLst>
              <a:gd name="adj1" fmla="val 0"/>
              <a:gd name="adj2" fmla="val 12778483"/>
            </a:avLst>
          </a:prstGeom>
          <a:solidFill>
            <a:srgbClr val="BED2F3">
              <a:lumMod val="75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88" name="Pie 30">
            <a:extLst>
              <a:ext uri="{FF2B5EF4-FFF2-40B4-BE49-F238E27FC236}">
                <a16:creationId xmlns:a16="http://schemas.microsoft.com/office/drawing/2014/main" id="{88A3E0C2-FE66-0248-E11A-16E9E713A66F}"/>
              </a:ext>
            </a:extLst>
          </p:cNvPr>
          <p:cNvSpPr/>
          <p:nvPr/>
        </p:nvSpPr>
        <p:spPr>
          <a:xfrm rot="2248725">
            <a:off x="8868184" y="5964785"/>
            <a:ext cx="743712" cy="743712"/>
          </a:xfrm>
          <a:prstGeom prst="pie">
            <a:avLst>
              <a:gd name="adj1" fmla="val 0"/>
              <a:gd name="adj2" fmla="val 8839672"/>
            </a:avLst>
          </a:prstGeom>
          <a:solidFill>
            <a:srgbClr val="33D196">
              <a:lumMod val="60000"/>
              <a:lumOff val="40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89" name="Pie 30">
            <a:extLst>
              <a:ext uri="{FF2B5EF4-FFF2-40B4-BE49-F238E27FC236}">
                <a16:creationId xmlns:a16="http://schemas.microsoft.com/office/drawing/2014/main" id="{2FF838F0-C393-9F9E-6434-F898B9179A9E}"/>
              </a:ext>
            </a:extLst>
          </p:cNvPr>
          <p:cNvSpPr/>
          <p:nvPr/>
        </p:nvSpPr>
        <p:spPr>
          <a:xfrm rot="20607851">
            <a:off x="9743498" y="5916036"/>
            <a:ext cx="743712" cy="743712"/>
          </a:xfrm>
          <a:prstGeom prst="pie">
            <a:avLst>
              <a:gd name="adj1" fmla="val 0"/>
              <a:gd name="adj2" fmla="val 8839672"/>
            </a:avLst>
          </a:prstGeom>
          <a:solidFill>
            <a:srgbClr val="33D196">
              <a:lumMod val="60000"/>
              <a:lumOff val="40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90" name="Pie 30">
            <a:extLst>
              <a:ext uri="{FF2B5EF4-FFF2-40B4-BE49-F238E27FC236}">
                <a16:creationId xmlns:a16="http://schemas.microsoft.com/office/drawing/2014/main" id="{1F09CF1B-827A-3454-3D42-08EA5AB69F1E}"/>
              </a:ext>
            </a:extLst>
          </p:cNvPr>
          <p:cNvSpPr/>
          <p:nvPr/>
        </p:nvSpPr>
        <p:spPr>
          <a:xfrm rot="16200000">
            <a:off x="10274993" y="5489394"/>
            <a:ext cx="743712" cy="743712"/>
          </a:xfrm>
          <a:prstGeom prst="pie">
            <a:avLst>
              <a:gd name="adj1" fmla="val 0"/>
              <a:gd name="adj2" fmla="val 8839672"/>
            </a:avLst>
          </a:prstGeom>
          <a:solidFill>
            <a:srgbClr val="33D196">
              <a:lumMod val="60000"/>
              <a:lumOff val="40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rgbClr val="FFFFFF"/>
              </a:solidFill>
              <a:effectLst/>
              <a:uLnTx/>
              <a:uFillTx/>
              <a:latin typeface="Arial" panose="020B0604020202020204"/>
            </a:endParaRPr>
          </a:p>
        </p:txBody>
      </p:sp>
      <p:sp>
        <p:nvSpPr>
          <p:cNvPr id="91" name="Pie 20">
            <a:extLst>
              <a:ext uri="{FF2B5EF4-FFF2-40B4-BE49-F238E27FC236}">
                <a16:creationId xmlns:a16="http://schemas.microsoft.com/office/drawing/2014/main" id="{D004112F-3178-7999-01BE-58FAA3FBFBA2}"/>
              </a:ext>
            </a:extLst>
          </p:cNvPr>
          <p:cNvSpPr/>
          <p:nvPr/>
        </p:nvSpPr>
        <p:spPr>
          <a:xfrm rot="16200000">
            <a:off x="9916601" y="492922"/>
            <a:ext cx="743712" cy="743712"/>
          </a:xfrm>
          <a:prstGeom prst="pie">
            <a:avLst>
              <a:gd name="adj1" fmla="val 0"/>
              <a:gd name="adj2" fmla="val 12778483"/>
            </a:avLst>
          </a:prstGeom>
          <a:solidFill>
            <a:srgbClr val="10069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cxnSp>
        <p:nvCxnSpPr>
          <p:cNvPr id="92" name="Straight Connector 18">
            <a:extLst>
              <a:ext uri="{FF2B5EF4-FFF2-40B4-BE49-F238E27FC236}">
                <a16:creationId xmlns:a16="http://schemas.microsoft.com/office/drawing/2014/main" id="{1534CF68-17D8-A7AC-9ECE-794BA285A628}"/>
              </a:ext>
            </a:extLst>
          </p:cNvPr>
          <p:cNvCxnSpPr>
            <a:cxnSpLocks/>
          </p:cNvCxnSpPr>
          <p:nvPr/>
        </p:nvCxnSpPr>
        <p:spPr>
          <a:xfrm flipV="1">
            <a:off x="9960763" y="902617"/>
            <a:ext cx="316021" cy="1173261"/>
          </a:xfrm>
          <a:prstGeom prst="line">
            <a:avLst/>
          </a:prstGeom>
          <a:noFill/>
          <a:ln w="6350" cap="flat" cmpd="sng" algn="ctr">
            <a:solidFill>
              <a:srgbClr val="10069F"/>
            </a:solidFill>
            <a:prstDash val="solid"/>
            <a:miter lim="800000"/>
          </a:ln>
          <a:effectLst/>
        </p:spPr>
      </p:cxnSp>
      <p:sp useBgFill="1">
        <p:nvSpPr>
          <p:cNvPr id="93" name="Oval 14">
            <a:extLst>
              <a:ext uri="{FF2B5EF4-FFF2-40B4-BE49-F238E27FC236}">
                <a16:creationId xmlns:a16="http://schemas.microsoft.com/office/drawing/2014/main" id="{1340A11F-E13A-8CC0-624F-F99E8B7E8A53}"/>
              </a:ext>
            </a:extLst>
          </p:cNvPr>
          <p:cNvSpPr>
            <a:spLocks noChangeArrowheads="1"/>
          </p:cNvSpPr>
          <p:nvPr/>
        </p:nvSpPr>
        <p:spPr bwMode="auto">
          <a:xfrm>
            <a:off x="9972436" y="548758"/>
            <a:ext cx="632043" cy="632040"/>
          </a:xfrm>
          <a:prstGeom prst="ellipse">
            <a:avLst/>
          </a:prstGeom>
          <a:ln w="3175">
            <a:solidFill>
              <a:srgbClr val="10069F"/>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Arial" panose="020B0604020202020204"/>
            </a:endParaRPr>
          </a:p>
        </p:txBody>
      </p:sp>
      <p:cxnSp>
        <p:nvCxnSpPr>
          <p:cNvPr id="94" name="Straight Connector 35">
            <a:extLst>
              <a:ext uri="{FF2B5EF4-FFF2-40B4-BE49-F238E27FC236}">
                <a16:creationId xmlns:a16="http://schemas.microsoft.com/office/drawing/2014/main" id="{172AB6B9-18F9-A1BC-0FCC-CC99C8AB4734}"/>
              </a:ext>
            </a:extLst>
          </p:cNvPr>
          <p:cNvCxnSpPr>
            <a:cxnSpLocks/>
          </p:cNvCxnSpPr>
          <p:nvPr/>
        </p:nvCxnSpPr>
        <p:spPr>
          <a:xfrm flipH="1" flipV="1">
            <a:off x="10618712" y="3912020"/>
            <a:ext cx="216167" cy="1255801"/>
          </a:xfrm>
          <a:prstGeom prst="line">
            <a:avLst/>
          </a:prstGeom>
          <a:noFill/>
          <a:ln w="6350" cap="flat" cmpd="sng" algn="ctr">
            <a:solidFill>
              <a:srgbClr val="753BBD"/>
            </a:solidFill>
            <a:prstDash val="solid"/>
            <a:miter lim="800000"/>
          </a:ln>
          <a:effectLst/>
        </p:spPr>
      </p:cxnSp>
      <p:cxnSp>
        <p:nvCxnSpPr>
          <p:cNvPr id="95" name="Straight Connector 38">
            <a:extLst>
              <a:ext uri="{FF2B5EF4-FFF2-40B4-BE49-F238E27FC236}">
                <a16:creationId xmlns:a16="http://schemas.microsoft.com/office/drawing/2014/main" id="{DE7C84B0-E007-3C4C-DFEA-4CE6CD0BAB83}"/>
              </a:ext>
            </a:extLst>
          </p:cNvPr>
          <p:cNvCxnSpPr>
            <a:cxnSpLocks/>
          </p:cNvCxnSpPr>
          <p:nvPr/>
        </p:nvCxnSpPr>
        <p:spPr>
          <a:xfrm flipV="1">
            <a:off x="9989934" y="1641230"/>
            <a:ext cx="1131433" cy="414328"/>
          </a:xfrm>
          <a:prstGeom prst="line">
            <a:avLst/>
          </a:prstGeom>
          <a:noFill/>
          <a:ln w="6350" cap="flat" cmpd="sng" algn="ctr">
            <a:solidFill>
              <a:srgbClr val="10069F"/>
            </a:solidFill>
            <a:prstDash val="solid"/>
            <a:miter lim="800000"/>
          </a:ln>
          <a:effectLst/>
        </p:spPr>
      </p:cxnSp>
      <p:cxnSp>
        <p:nvCxnSpPr>
          <p:cNvPr id="96" name="Straight Connector 40">
            <a:extLst>
              <a:ext uri="{FF2B5EF4-FFF2-40B4-BE49-F238E27FC236}">
                <a16:creationId xmlns:a16="http://schemas.microsoft.com/office/drawing/2014/main" id="{62C2AEAB-139D-8A69-D63D-01A1D8493D27}"/>
              </a:ext>
            </a:extLst>
          </p:cNvPr>
          <p:cNvCxnSpPr>
            <a:cxnSpLocks/>
          </p:cNvCxnSpPr>
          <p:nvPr/>
        </p:nvCxnSpPr>
        <p:spPr>
          <a:xfrm>
            <a:off x="9960763" y="2086302"/>
            <a:ext cx="1153093" cy="578405"/>
          </a:xfrm>
          <a:prstGeom prst="line">
            <a:avLst/>
          </a:prstGeom>
          <a:noFill/>
          <a:ln w="6350" cap="flat" cmpd="sng" algn="ctr">
            <a:solidFill>
              <a:srgbClr val="10069F"/>
            </a:solidFill>
            <a:prstDash val="solid"/>
            <a:miter lim="800000"/>
          </a:ln>
          <a:effectLst/>
        </p:spPr>
      </p:cxnSp>
      <p:cxnSp>
        <p:nvCxnSpPr>
          <p:cNvPr id="97" name="Straight Connector 42">
            <a:extLst>
              <a:ext uri="{FF2B5EF4-FFF2-40B4-BE49-F238E27FC236}">
                <a16:creationId xmlns:a16="http://schemas.microsoft.com/office/drawing/2014/main" id="{C20D3E7B-588E-3255-CE90-A8FBCA0D6801}"/>
              </a:ext>
            </a:extLst>
          </p:cNvPr>
          <p:cNvCxnSpPr>
            <a:cxnSpLocks/>
          </p:cNvCxnSpPr>
          <p:nvPr/>
        </p:nvCxnSpPr>
        <p:spPr>
          <a:xfrm>
            <a:off x="10618711" y="3912020"/>
            <a:ext cx="1049043" cy="678412"/>
          </a:xfrm>
          <a:prstGeom prst="line">
            <a:avLst/>
          </a:prstGeom>
          <a:noFill/>
          <a:ln w="6350" cap="flat" cmpd="sng" algn="ctr">
            <a:solidFill>
              <a:srgbClr val="753BBD"/>
            </a:solidFill>
            <a:prstDash val="solid"/>
            <a:miter lim="800000"/>
          </a:ln>
          <a:effectLst/>
        </p:spPr>
      </p:cxnSp>
      <p:cxnSp>
        <p:nvCxnSpPr>
          <p:cNvPr id="98" name="Straight Connector 46">
            <a:extLst>
              <a:ext uri="{FF2B5EF4-FFF2-40B4-BE49-F238E27FC236}">
                <a16:creationId xmlns:a16="http://schemas.microsoft.com/office/drawing/2014/main" id="{5A00527B-9172-FC96-B44E-B2498D905DBA}"/>
              </a:ext>
            </a:extLst>
          </p:cNvPr>
          <p:cNvCxnSpPr>
            <a:cxnSpLocks/>
          </p:cNvCxnSpPr>
          <p:nvPr/>
        </p:nvCxnSpPr>
        <p:spPr>
          <a:xfrm flipV="1">
            <a:off x="10642785" y="3584530"/>
            <a:ext cx="1034245" cy="356484"/>
          </a:xfrm>
          <a:prstGeom prst="line">
            <a:avLst/>
          </a:prstGeom>
          <a:noFill/>
          <a:ln w="6350" cap="flat" cmpd="sng" algn="ctr">
            <a:solidFill>
              <a:srgbClr val="753BBD"/>
            </a:solidFill>
            <a:prstDash val="solid"/>
            <a:miter lim="800000"/>
          </a:ln>
          <a:effectLst/>
        </p:spPr>
      </p:cxnSp>
      <p:sp>
        <p:nvSpPr>
          <p:cNvPr id="99" name="Pie 23">
            <a:extLst>
              <a:ext uri="{FF2B5EF4-FFF2-40B4-BE49-F238E27FC236}">
                <a16:creationId xmlns:a16="http://schemas.microsoft.com/office/drawing/2014/main" id="{12396BF8-2AD2-4EC9-A7E5-5F12A155E600}"/>
              </a:ext>
            </a:extLst>
          </p:cNvPr>
          <p:cNvSpPr/>
          <p:nvPr/>
        </p:nvSpPr>
        <p:spPr>
          <a:xfrm rot="16200000">
            <a:off x="10773825" y="2258972"/>
            <a:ext cx="743712" cy="743712"/>
          </a:xfrm>
          <a:prstGeom prst="pie">
            <a:avLst>
              <a:gd name="adj1" fmla="val 0"/>
              <a:gd name="adj2" fmla="val 8839672"/>
            </a:avLst>
          </a:prstGeom>
          <a:solidFill>
            <a:srgbClr val="10069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0" name="Pie 22">
            <a:extLst>
              <a:ext uri="{FF2B5EF4-FFF2-40B4-BE49-F238E27FC236}">
                <a16:creationId xmlns:a16="http://schemas.microsoft.com/office/drawing/2014/main" id="{7D5168EF-ADE6-6BE0-0C88-F9ACA3EA8F68}"/>
              </a:ext>
            </a:extLst>
          </p:cNvPr>
          <p:cNvSpPr/>
          <p:nvPr/>
        </p:nvSpPr>
        <p:spPr>
          <a:xfrm rot="16200000">
            <a:off x="10773825" y="1228676"/>
            <a:ext cx="743712" cy="743712"/>
          </a:xfrm>
          <a:prstGeom prst="pie">
            <a:avLst>
              <a:gd name="adj1" fmla="val 0"/>
              <a:gd name="adj2" fmla="val 19354869"/>
            </a:avLst>
          </a:prstGeom>
          <a:solidFill>
            <a:srgbClr val="10069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101" name="Oval 11">
            <a:extLst>
              <a:ext uri="{FF2B5EF4-FFF2-40B4-BE49-F238E27FC236}">
                <a16:creationId xmlns:a16="http://schemas.microsoft.com/office/drawing/2014/main" id="{DAF0725E-6E91-67CD-6C77-3E750B0F7390}"/>
              </a:ext>
            </a:extLst>
          </p:cNvPr>
          <p:cNvSpPr>
            <a:spLocks noChangeArrowheads="1"/>
          </p:cNvSpPr>
          <p:nvPr/>
        </p:nvSpPr>
        <p:spPr bwMode="auto">
          <a:xfrm>
            <a:off x="10829660" y="2314807"/>
            <a:ext cx="632043" cy="632040"/>
          </a:xfrm>
          <a:prstGeom prst="ellipse">
            <a:avLst/>
          </a:prstGeom>
          <a:ln w="3175">
            <a:solidFill>
              <a:srgbClr val="10069F"/>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sp useBgFill="1">
        <p:nvSpPr>
          <p:cNvPr id="102" name="Oval 13">
            <a:extLst>
              <a:ext uri="{FF2B5EF4-FFF2-40B4-BE49-F238E27FC236}">
                <a16:creationId xmlns:a16="http://schemas.microsoft.com/office/drawing/2014/main" id="{5E0F7BF7-BA5F-EACD-EC97-6458A9FA7BAA}"/>
              </a:ext>
            </a:extLst>
          </p:cNvPr>
          <p:cNvSpPr>
            <a:spLocks noChangeArrowheads="1"/>
          </p:cNvSpPr>
          <p:nvPr/>
        </p:nvSpPr>
        <p:spPr bwMode="auto">
          <a:xfrm>
            <a:off x="10829660" y="1284512"/>
            <a:ext cx="632043" cy="632040"/>
          </a:xfrm>
          <a:prstGeom prst="ellipse">
            <a:avLst/>
          </a:prstGeom>
          <a:ln w="3175">
            <a:solidFill>
              <a:srgbClr val="10069F"/>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a:endParaRPr>
          </a:p>
        </p:txBody>
      </p:sp>
      <p:sp>
        <p:nvSpPr>
          <p:cNvPr id="103" name="Pie 31">
            <a:extLst>
              <a:ext uri="{FF2B5EF4-FFF2-40B4-BE49-F238E27FC236}">
                <a16:creationId xmlns:a16="http://schemas.microsoft.com/office/drawing/2014/main" id="{389392DC-E912-053F-CCC7-8472FE8566B5}"/>
              </a:ext>
            </a:extLst>
          </p:cNvPr>
          <p:cNvSpPr/>
          <p:nvPr/>
        </p:nvSpPr>
        <p:spPr>
          <a:xfrm rot="16200000">
            <a:off x="11331919" y="4216807"/>
            <a:ext cx="743712" cy="743712"/>
          </a:xfrm>
          <a:prstGeom prst="pie">
            <a:avLst>
              <a:gd name="adj1" fmla="val 0"/>
              <a:gd name="adj2" fmla="val 19354869"/>
            </a:avLst>
          </a:prstGeom>
          <a:solidFill>
            <a:srgbClr val="753BBD"/>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4" name="Pie 32">
            <a:extLst>
              <a:ext uri="{FF2B5EF4-FFF2-40B4-BE49-F238E27FC236}">
                <a16:creationId xmlns:a16="http://schemas.microsoft.com/office/drawing/2014/main" id="{B9DBBF45-9B29-998D-EEAF-A3E5CD5F5413}"/>
              </a:ext>
            </a:extLst>
          </p:cNvPr>
          <p:cNvSpPr/>
          <p:nvPr/>
        </p:nvSpPr>
        <p:spPr>
          <a:xfrm rot="16200000">
            <a:off x="11331919" y="3197302"/>
            <a:ext cx="743712" cy="743712"/>
          </a:xfrm>
          <a:prstGeom prst="pie">
            <a:avLst>
              <a:gd name="adj1" fmla="val 0"/>
              <a:gd name="adj2" fmla="val 12778483"/>
            </a:avLst>
          </a:prstGeom>
          <a:solidFill>
            <a:srgbClr val="753BBD"/>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105" name="Oval 34">
            <a:extLst>
              <a:ext uri="{FF2B5EF4-FFF2-40B4-BE49-F238E27FC236}">
                <a16:creationId xmlns:a16="http://schemas.microsoft.com/office/drawing/2014/main" id="{8F8D0633-26A0-BD1D-CDB5-9DDF3C418DD8}"/>
              </a:ext>
            </a:extLst>
          </p:cNvPr>
          <p:cNvSpPr>
            <a:spLocks noChangeArrowheads="1"/>
          </p:cNvSpPr>
          <p:nvPr/>
        </p:nvSpPr>
        <p:spPr bwMode="auto">
          <a:xfrm>
            <a:off x="11387754" y="4272643"/>
            <a:ext cx="632043" cy="632040"/>
          </a:xfrm>
          <a:prstGeom prst="ellipse">
            <a:avLst/>
          </a:prstGeom>
          <a:ln w="3175">
            <a:solidFill>
              <a:srgbClr val="753BBD"/>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Arial" panose="020B0604020202020204"/>
            </a:endParaRPr>
          </a:p>
        </p:txBody>
      </p:sp>
      <p:sp useBgFill="1">
        <p:nvSpPr>
          <p:cNvPr id="106" name="Oval 36">
            <a:extLst>
              <a:ext uri="{FF2B5EF4-FFF2-40B4-BE49-F238E27FC236}">
                <a16:creationId xmlns:a16="http://schemas.microsoft.com/office/drawing/2014/main" id="{061C84DF-D61D-903C-F8BF-64C60903EA13}"/>
              </a:ext>
            </a:extLst>
          </p:cNvPr>
          <p:cNvSpPr>
            <a:spLocks noChangeArrowheads="1"/>
          </p:cNvSpPr>
          <p:nvPr/>
        </p:nvSpPr>
        <p:spPr bwMode="auto">
          <a:xfrm>
            <a:off x="11387754" y="3253138"/>
            <a:ext cx="632043" cy="632040"/>
          </a:xfrm>
          <a:prstGeom prst="ellipse">
            <a:avLst/>
          </a:prstGeom>
          <a:ln w="3175">
            <a:solidFill>
              <a:srgbClr val="753BBD"/>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sp>
        <p:nvSpPr>
          <p:cNvPr id="107" name="Pie 30">
            <a:extLst>
              <a:ext uri="{FF2B5EF4-FFF2-40B4-BE49-F238E27FC236}">
                <a16:creationId xmlns:a16="http://schemas.microsoft.com/office/drawing/2014/main" id="{BD64F859-C9E8-FB49-4455-409CB227200E}"/>
              </a:ext>
            </a:extLst>
          </p:cNvPr>
          <p:cNvSpPr/>
          <p:nvPr/>
        </p:nvSpPr>
        <p:spPr>
          <a:xfrm rot="16200000">
            <a:off x="10563188" y="4795964"/>
            <a:ext cx="743712" cy="743712"/>
          </a:xfrm>
          <a:prstGeom prst="pie">
            <a:avLst>
              <a:gd name="adj1" fmla="val 0"/>
              <a:gd name="adj2" fmla="val 8839672"/>
            </a:avLst>
          </a:prstGeom>
          <a:solidFill>
            <a:srgbClr val="753BBD"/>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108" name="Oval 33">
            <a:extLst>
              <a:ext uri="{FF2B5EF4-FFF2-40B4-BE49-F238E27FC236}">
                <a16:creationId xmlns:a16="http://schemas.microsoft.com/office/drawing/2014/main" id="{FFFDC234-9D05-3B23-862A-D89D0F4D2498}"/>
              </a:ext>
            </a:extLst>
          </p:cNvPr>
          <p:cNvSpPr>
            <a:spLocks noChangeArrowheads="1"/>
          </p:cNvSpPr>
          <p:nvPr/>
        </p:nvSpPr>
        <p:spPr bwMode="auto">
          <a:xfrm>
            <a:off x="10619023" y="4851799"/>
            <a:ext cx="632043" cy="632040"/>
          </a:xfrm>
          <a:prstGeom prst="ellipse">
            <a:avLst/>
          </a:prstGeom>
          <a:ln w="3175">
            <a:solidFill>
              <a:srgbClr val="753BBD"/>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Arial" panose="020B0604020202020204"/>
            </a:endParaRPr>
          </a:p>
        </p:txBody>
      </p:sp>
      <p:cxnSp>
        <p:nvCxnSpPr>
          <p:cNvPr id="109" name="Straight Connector 48">
            <a:extLst>
              <a:ext uri="{FF2B5EF4-FFF2-40B4-BE49-F238E27FC236}">
                <a16:creationId xmlns:a16="http://schemas.microsoft.com/office/drawing/2014/main" id="{BA7D6F86-EB8D-EC5D-4294-3E1AFF6C2C68}"/>
              </a:ext>
            </a:extLst>
          </p:cNvPr>
          <p:cNvCxnSpPr>
            <a:cxnSpLocks/>
            <a:endCxn id="113" idx="3"/>
          </p:cNvCxnSpPr>
          <p:nvPr/>
        </p:nvCxnSpPr>
        <p:spPr>
          <a:xfrm flipV="1">
            <a:off x="9103572" y="2500239"/>
            <a:ext cx="436379" cy="616542"/>
          </a:xfrm>
          <a:prstGeom prst="line">
            <a:avLst/>
          </a:prstGeom>
          <a:noFill/>
          <a:ln w="6350" cap="flat" cmpd="sng" algn="ctr">
            <a:solidFill>
              <a:srgbClr val="10069F"/>
            </a:solidFill>
            <a:prstDash val="solid"/>
            <a:miter lim="800000"/>
          </a:ln>
          <a:effectLst/>
        </p:spPr>
      </p:cxnSp>
      <p:cxnSp>
        <p:nvCxnSpPr>
          <p:cNvPr id="110" name="Straight Connector 72">
            <a:extLst>
              <a:ext uri="{FF2B5EF4-FFF2-40B4-BE49-F238E27FC236}">
                <a16:creationId xmlns:a16="http://schemas.microsoft.com/office/drawing/2014/main" id="{5182C397-7145-FDA7-F9A4-DBE3E21F1422}"/>
              </a:ext>
            </a:extLst>
          </p:cNvPr>
          <p:cNvCxnSpPr>
            <a:cxnSpLocks/>
            <a:stCxn id="135" idx="6"/>
            <a:endCxn id="114" idx="2"/>
          </p:cNvCxnSpPr>
          <p:nvPr/>
        </p:nvCxnSpPr>
        <p:spPr>
          <a:xfrm>
            <a:off x="9169601" y="3380925"/>
            <a:ext cx="752668" cy="531095"/>
          </a:xfrm>
          <a:prstGeom prst="line">
            <a:avLst/>
          </a:prstGeom>
          <a:noFill/>
          <a:ln w="6350" cap="flat" cmpd="sng" algn="ctr">
            <a:solidFill>
              <a:srgbClr val="753BBD"/>
            </a:solidFill>
            <a:prstDash val="solid"/>
            <a:miter lim="800000"/>
          </a:ln>
          <a:effectLst/>
        </p:spPr>
      </p:cxnSp>
      <p:cxnSp>
        <p:nvCxnSpPr>
          <p:cNvPr id="111" name="Straight Connector 76">
            <a:extLst>
              <a:ext uri="{FF2B5EF4-FFF2-40B4-BE49-F238E27FC236}">
                <a16:creationId xmlns:a16="http://schemas.microsoft.com/office/drawing/2014/main" id="{7E2BA00F-17A1-A023-0448-A0F961FE8FE1}"/>
              </a:ext>
            </a:extLst>
          </p:cNvPr>
          <p:cNvCxnSpPr>
            <a:stCxn id="135" idx="2"/>
            <a:endCxn id="133" idx="3"/>
          </p:cNvCxnSpPr>
          <p:nvPr/>
        </p:nvCxnSpPr>
        <p:spPr>
          <a:xfrm flipH="1" flipV="1">
            <a:off x="6925941" y="2823375"/>
            <a:ext cx="443964" cy="557551"/>
          </a:xfrm>
          <a:prstGeom prst="line">
            <a:avLst/>
          </a:prstGeom>
          <a:noFill/>
          <a:ln w="6350" cap="flat" cmpd="sng" algn="ctr">
            <a:solidFill>
              <a:srgbClr val="595959"/>
            </a:solidFill>
            <a:prstDash val="solid"/>
            <a:miter lim="800000"/>
          </a:ln>
          <a:effectLst/>
        </p:spPr>
      </p:cxnSp>
      <p:cxnSp>
        <p:nvCxnSpPr>
          <p:cNvPr id="112" name="Straight Connector 77">
            <a:extLst>
              <a:ext uri="{FF2B5EF4-FFF2-40B4-BE49-F238E27FC236}">
                <a16:creationId xmlns:a16="http://schemas.microsoft.com/office/drawing/2014/main" id="{6EB0733D-63E9-6375-885C-AEE8A852569B}"/>
              </a:ext>
            </a:extLst>
          </p:cNvPr>
          <p:cNvCxnSpPr>
            <a:stCxn id="135" idx="2"/>
            <a:endCxn id="134" idx="1"/>
          </p:cNvCxnSpPr>
          <p:nvPr/>
        </p:nvCxnSpPr>
        <p:spPr>
          <a:xfrm flipH="1">
            <a:off x="6925941" y="3380925"/>
            <a:ext cx="443964" cy="273882"/>
          </a:xfrm>
          <a:prstGeom prst="line">
            <a:avLst/>
          </a:prstGeom>
          <a:noFill/>
          <a:ln w="6350" cap="flat" cmpd="sng" algn="ctr">
            <a:solidFill>
              <a:srgbClr val="EE3744"/>
            </a:solidFill>
            <a:prstDash val="solid"/>
            <a:miter lim="800000"/>
          </a:ln>
          <a:effectLst/>
        </p:spPr>
      </p:cxnSp>
      <p:sp>
        <p:nvSpPr>
          <p:cNvPr id="113" name="Oval 7">
            <a:extLst>
              <a:ext uri="{FF2B5EF4-FFF2-40B4-BE49-F238E27FC236}">
                <a16:creationId xmlns:a16="http://schemas.microsoft.com/office/drawing/2014/main" id="{A5115668-4E9D-4999-D9CE-1B1A371E4021}"/>
              </a:ext>
            </a:extLst>
          </p:cNvPr>
          <p:cNvSpPr>
            <a:spLocks noChangeArrowheads="1"/>
          </p:cNvSpPr>
          <p:nvPr/>
        </p:nvSpPr>
        <p:spPr bwMode="auto">
          <a:xfrm>
            <a:off x="9364175" y="1475740"/>
            <a:ext cx="1200276" cy="1200275"/>
          </a:xfrm>
          <a:prstGeom prst="ellipse">
            <a:avLst/>
          </a:prstGeom>
          <a:solidFill>
            <a:srgbClr val="10069F"/>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M-FP</a:t>
            </a:r>
          </a:p>
        </p:txBody>
      </p:sp>
      <p:sp>
        <p:nvSpPr>
          <p:cNvPr id="114" name="Oval 8">
            <a:extLst>
              <a:ext uri="{FF2B5EF4-FFF2-40B4-BE49-F238E27FC236}">
                <a16:creationId xmlns:a16="http://schemas.microsoft.com/office/drawing/2014/main" id="{B6C82F5B-E655-2D81-7769-9F48A46C1EC0}"/>
              </a:ext>
            </a:extLst>
          </p:cNvPr>
          <p:cNvSpPr>
            <a:spLocks noChangeArrowheads="1"/>
          </p:cNvSpPr>
          <p:nvPr/>
        </p:nvSpPr>
        <p:spPr bwMode="auto">
          <a:xfrm>
            <a:off x="9922269" y="3311882"/>
            <a:ext cx="1200276" cy="1200275"/>
          </a:xfrm>
          <a:prstGeom prst="ellipse">
            <a:avLst/>
          </a:prstGeom>
          <a:solidFill>
            <a:srgbClr val="753BBD"/>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MOVE 1.0</a:t>
            </a:r>
          </a:p>
        </p:txBody>
      </p:sp>
      <p:cxnSp>
        <p:nvCxnSpPr>
          <p:cNvPr id="118" name="Straight Connector 56">
            <a:extLst>
              <a:ext uri="{FF2B5EF4-FFF2-40B4-BE49-F238E27FC236}">
                <a16:creationId xmlns:a16="http://schemas.microsoft.com/office/drawing/2014/main" id="{2E955162-9E74-1B13-5B44-5E145C90AC23}"/>
              </a:ext>
            </a:extLst>
          </p:cNvPr>
          <p:cNvCxnSpPr>
            <a:cxnSpLocks/>
          </p:cNvCxnSpPr>
          <p:nvPr/>
        </p:nvCxnSpPr>
        <p:spPr>
          <a:xfrm flipV="1">
            <a:off x="6189108" y="4079169"/>
            <a:ext cx="216167" cy="1255801"/>
          </a:xfrm>
          <a:prstGeom prst="line">
            <a:avLst/>
          </a:prstGeom>
          <a:noFill/>
          <a:ln w="6350" cap="flat" cmpd="sng" algn="ctr">
            <a:solidFill>
              <a:srgbClr val="EE3744"/>
            </a:solidFill>
            <a:prstDash val="solid"/>
            <a:miter lim="800000"/>
          </a:ln>
          <a:effectLst/>
        </p:spPr>
      </p:cxnSp>
      <p:cxnSp>
        <p:nvCxnSpPr>
          <p:cNvPr id="119" name="Straight Connector 57">
            <a:extLst>
              <a:ext uri="{FF2B5EF4-FFF2-40B4-BE49-F238E27FC236}">
                <a16:creationId xmlns:a16="http://schemas.microsoft.com/office/drawing/2014/main" id="{BFF16F85-8E58-34CC-CF9B-AFFC2618CAE3}"/>
              </a:ext>
            </a:extLst>
          </p:cNvPr>
          <p:cNvCxnSpPr>
            <a:cxnSpLocks/>
          </p:cNvCxnSpPr>
          <p:nvPr/>
        </p:nvCxnSpPr>
        <p:spPr>
          <a:xfrm flipH="1" flipV="1">
            <a:off x="5344526" y="1964365"/>
            <a:ext cx="1131433" cy="414328"/>
          </a:xfrm>
          <a:prstGeom prst="line">
            <a:avLst/>
          </a:prstGeom>
          <a:noFill/>
          <a:ln w="6350" cap="flat" cmpd="sng" algn="ctr">
            <a:solidFill>
              <a:srgbClr val="595959"/>
            </a:solidFill>
            <a:prstDash val="solid"/>
            <a:miter lim="800000"/>
          </a:ln>
          <a:effectLst/>
        </p:spPr>
      </p:cxnSp>
      <p:cxnSp>
        <p:nvCxnSpPr>
          <p:cNvPr id="120" name="Straight Connector 58">
            <a:extLst>
              <a:ext uri="{FF2B5EF4-FFF2-40B4-BE49-F238E27FC236}">
                <a16:creationId xmlns:a16="http://schemas.microsoft.com/office/drawing/2014/main" id="{ABACD6F2-AB16-EBA3-E8EF-48154F302AFF}"/>
              </a:ext>
            </a:extLst>
          </p:cNvPr>
          <p:cNvCxnSpPr>
            <a:cxnSpLocks/>
          </p:cNvCxnSpPr>
          <p:nvPr/>
        </p:nvCxnSpPr>
        <p:spPr>
          <a:xfrm flipH="1">
            <a:off x="5352036" y="2409437"/>
            <a:ext cx="1153093" cy="578405"/>
          </a:xfrm>
          <a:prstGeom prst="line">
            <a:avLst/>
          </a:prstGeom>
          <a:noFill/>
          <a:ln w="6350" cap="flat" cmpd="sng" algn="ctr">
            <a:solidFill>
              <a:srgbClr val="595959"/>
            </a:solidFill>
            <a:prstDash val="solid"/>
            <a:miter lim="800000"/>
          </a:ln>
          <a:effectLst/>
        </p:spPr>
      </p:cxnSp>
      <p:cxnSp>
        <p:nvCxnSpPr>
          <p:cNvPr id="121" name="Straight Connector 59">
            <a:extLst>
              <a:ext uri="{FF2B5EF4-FFF2-40B4-BE49-F238E27FC236}">
                <a16:creationId xmlns:a16="http://schemas.microsoft.com/office/drawing/2014/main" id="{0F67CDD3-44EB-2AC0-027A-80E40C16A039}"/>
              </a:ext>
            </a:extLst>
          </p:cNvPr>
          <p:cNvCxnSpPr>
            <a:cxnSpLocks/>
          </p:cNvCxnSpPr>
          <p:nvPr/>
        </p:nvCxnSpPr>
        <p:spPr>
          <a:xfrm flipH="1">
            <a:off x="5356231" y="4079169"/>
            <a:ext cx="1049043" cy="678412"/>
          </a:xfrm>
          <a:prstGeom prst="line">
            <a:avLst/>
          </a:prstGeom>
          <a:noFill/>
          <a:ln w="6350" cap="flat" cmpd="sng" algn="ctr">
            <a:solidFill>
              <a:srgbClr val="10069F"/>
            </a:solidFill>
            <a:prstDash val="solid"/>
            <a:miter lim="800000"/>
          </a:ln>
          <a:effectLst/>
        </p:spPr>
      </p:cxnSp>
      <p:cxnSp>
        <p:nvCxnSpPr>
          <p:cNvPr id="122" name="Straight Connector 60">
            <a:extLst>
              <a:ext uri="{FF2B5EF4-FFF2-40B4-BE49-F238E27FC236}">
                <a16:creationId xmlns:a16="http://schemas.microsoft.com/office/drawing/2014/main" id="{762C38A8-3CAF-899C-D7D6-6AA0EF73469E}"/>
              </a:ext>
            </a:extLst>
          </p:cNvPr>
          <p:cNvCxnSpPr>
            <a:cxnSpLocks/>
          </p:cNvCxnSpPr>
          <p:nvPr/>
        </p:nvCxnSpPr>
        <p:spPr>
          <a:xfrm flipH="1" flipV="1">
            <a:off x="5346956" y="3751679"/>
            <a:ext cx="1034245" cy="356484"/>
          </a:xfrm>
          <a:prstGeom prst="line">
            <a:avLst/>
          </a:prstGeom>
          <a:noFill/>
          <a:ln w="6350" cap="flat" cmpd="sng" algn="ctr">
            <a:solidFill>
              <a:srgbClr val="EE3744"/>
            </a:solidFill>
            <a:prstDash val="solid"/>
            <a:miter lim="800000"/>
          </a:ln>
          <a:effectLst/>
        </p:spPr>
      </p:cxnSp>
      <p:sp>
        <p:nvSpPr>
          <p:cNvPr id="123" name="Pie 61">
            <a:extLst>
              <a:ext uri="{FF2B5EF4-FFF2-40B4-BE49-F238E27FC236}">
                <a16:creationId xmlns:a16="http://schemas.microsoft.com/office/drawing/2014/main" id="{90E3E005-3FB8-8148-9A72-014011CDF181}"/>
              </a:ext>
            </a:extLst>
          </p:cNvPr>
          <p:cNvSpPr/>
          <p:nvPr/>
        </p:nvSpPr>
        <p:spPr>
          <a:xfrm rot="16200000">
            <a:off x="4948354" y="2582107"/>
            <a:ext cx="743712" cy="743712"/>
          </a:xfrm>
          <a:prstGeom prst="pie">
            <a:avLst>
              <a:gd name="adj1" fmla="val 0"/>
              <a:gd name="adj2" fmla="val 8839672"/>
            </a:avLst>
          </a:prstGeom>
          <a:solidFill>
            <a:srgbClr val="59595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24" name="Pie 62">
            <a:extLst>
              <a:ext uri="{FF2B5EF4-FFF2-40B4-BE49-F238E27FC236}">
                <a16:creationId xmlns:a16="http://schemas.microsoft.com/office/drawing/2014/main" id="{4075E8B1-49FC-3AF8-E84E-015F29C6713F}"/>
              </a:ext>
            </a:extLst>
          </p:cNvPr>
          <p:cNvSpPr/>
          <p:nvPr/>
        </p:nvSpPr>
        <p:spPr>
          <a:xfrm rot="16200000">
            <a:off x="4948354" y="1551811"/>
            <a:ext cx="743712" cy="743712"/>
          </a:xfrm>
          <a:prstGeom prst="pie">
            <a:avLst>
              <a:gd name="adj1" fmla="val 0"/>
              <a:gd name="adj2" fmla="val 19354869"/>
            </a:avLst>
          </a:prstGeom>
          <a:solidFill>
            <a:srgbClr val="59595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125" name="Oval 63">
            <a:extLst>
              <a:ext uri="{FF2B5EF4-FFF2-40B4-BE49-F238E27FC236}">
                <a16:creationId xmlns:a16="http://schemas.microsoft.com/office/drawing/2014/main" id="{FA6CCBB3-FD21-9FCD-FEDF-11D2F765E76F}"/>
              </a:ext>
            </a:extLst>
          </p:cNvPr>
          <p:cNvSpPr>
            <a:spLocks noChangeArrowheads="1"/>
          </p:cNvSpPr>
          <p:nvPr/>
        </p:nvSpPr>
        <p:spPr bwMode="auto">
          <a:xfrm flipH="1">
            <a:off x="5004189" y="2637942"/>
            <a:ext cx="632043" cy="632040"/>
          </a:xfrm>
          <a:prstGeom prst="ellipse">
            <a:avLst/>
          </a:prstGeom>
          <a:ln w="3175">
            <a:solidFill>
              <a:srgbClr val="595959"/>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Arial" panose="020B0604020202020204"/>
            </a:endParaRPr>
          </a:p>
        </p:txBody>
      </p:sp>
      <p:sp useBgFill="1">
        <p:nvSpPr>
          <p:cNvPr id="126" name="Oval 64">
            <a:extLst>
              <a:ext uri="{FF2B5EF4-FFF2-40B4-BE49-F238E27FC236}">
                <a16:creationId xmlns:a16="http://schemas.microsoft.com/office/drawing/2014/main" id="{D96BE001-6396-B631-1018-85B3BC6A1E56}"/>
              </a:ext>
            </a:extLst>
          </p:cNvPr>
          <p:cNvSpPr>
            <a:spLocks noChangeArrowheads="1"/>
          </p:cNvSpPr>
          <p:nvPr/>
        </p:nvSpPr>
        <p:spPr bwMode="auto">
          <a:xfrm flipH="1">
            <a:off x="5004189" y="1607647"/>
            <a:ext cx="632043" cy="632040"/>
          </a:xfrm>
          <a:prstGeom prst="ellipse">
            <a:avLst/>
          </a:prstGeom>
          <a:ln w="3175">
            <a:solidFill>
              <a:srgbClr val="595959"/>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a:endParaRPr>
          </a:p>
        </p:txBody>
      </p:sp>
      <p:sp>
        <p:nvSpPr>
          <p:cNvPr id="127" name="Pie 65">
            <a:extLst>
              <a:ext uri="{FF2B5EF4-FFF2-40B4-BE49-F238E27FC236}">
                <a16:creationId xmlns:a16="http://schemas.microsoft.com/office/drawing/2014/main" id="{71043FD1-B956-AB46-1ED6-1E17F0E92DFC}"/>
              </a:ext>
            </a:extLst>
          </p:cNvPr>
          <p:cNvSpPr/>
          <p:nvPr/>
        </p:nvSpPr>
        <p:spPr>
          <a:xfrm rot="16200000">
            <a:off x="4948354" y="4383956"/>
            <a:ext cx="743712" cy="743712"/>
          </a:xfrm>
          <a:prstGeom prst="pie">
            <a:avLst>
              <a:gd name="adj1" fmla="val 0"/>
              <a:gd name="adj2" fmla="val 19354869"/>
            </a:avLst>
          </a:prstGeom>
          <a:solidFill>
            <a:srgbClr val="EE3744"/>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28" name="Pie 66">
            <a:extLst>
              <a:ext uri="{FF2B5EF4-FFF2-40B4-BE49-F238E27FC236}">
                <a16:creationId xmlns:a16="http://schemas.microsoft.com/office/drawing/2014/main" id="{A5FEA061-87E5-0826-984B-621F3E972534}"/>
              </a:ext>
            </a:extLst>
          </p:cNvPr>
          <p:cNvSpPr/>
          <p:nvPr/>
        </p:nvSpPr>
        <p:spPr>
          <a:xfrm rot="16200000">
            <a:off x="4948354" y="3364451"/>
            <a:ext cx="743712" cy="743712"/>
          </a:xfrm>
          <a:prstGeom prst="pie">
            <a:avLst>
              <a:gd name="adj1" fmla="val 0"/>
              <a:gd name="adj2" fmla="val 12778483"/>
            </a:avLst>
          </a:prstGeom>
          <a:solidFill>
            <a:srgbClr val="EE3744"/>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129" name="Oval 67">
            <a:extLst>
              <a:ext uri="{FF2B5EF4-FFF2-40B4-BE49-F238E27FC236}">
                <a16:creationId xmlns:a16="http://schemas.microsoft.com/office/drawing/2014/main" id="{41ADCCF3-89DD-D44A-D4CD-AD8023402933}"/>
              </a:ext>
            </a:extLst>
          </p:cNvPr>
          <p:cNvSpPr>
            <a:spLocks noChangeArrowheads="1"/>
          </p:cNvSpPr>
          <p:nvPr/>
        </p:nvSpPr>
        <p:spPr bwMode="auto">
          <a:xfrm flipH="1">
            <a:off x="5004189" y="4439792"/>
            <a:ext cx="632043" cy="632040"/>
          </a:xfrm>
          <a:prstGeom prst="ellipse">
            <a:avLst/>
          </a:prstGeom>
          <a:ln w="3175">
            <a:solidFill>
              <a:srgbClr val="EE3744"/>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a:endParaRPr>
          </a:p>
        </p:txBody>
      </p:sp>
      <p:sp useBgFill="1">
        <p:nvSpPr>
          <p:cNvPr id="130" name="Oval 68">
            <a:extLst>
              <a:ext uri="{FF2B5EF4-FFF2-40B4-BE49-F238E27FC236}">
                <a16:creationId xmlns:a16="http://schemas.microsoft.com/office/drawing/2014/main" id="{30F32150-0615-06F3-B76F-0C0D37BDED49}"/>
              </a:ext>
            </a:extLst>
          </p:cNvPr>
          <p:cNvSpPr>
            <a:spLocks noChangeArrowheads="1"/>
          </p:cNvSpPr>
          <p:nvPr/>
        </p:nvSpPr>
        <p:spPr bwMode="auto">
          <a:xfrm flipH="1">
            <a:off x="5004189" y="3420287"/>
            <a:ext cx="632043" cy="632040"/>
          </a:xfrm>
          <a:prstGeom prst="ellipse">
            <a:avLst/>
          </a:prstGeom>
          <a:ln w="3175">
            <a:solidFill>
              <a:srgbClr val="EE3744"/>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a:endParaRPr>
          </a:p>
        </p:txBody>
      </p:sp>
      <p:sp>
        <p:nvSpPr>
          <p:cNvPr id="131" name="Pie 69">
            <a:extLst>
              <a:ext uri="{FF2B5EF4-FFF2-40B4-BE49-F238E27FC236}">
                <a16:creationId xmlns:a16="http://schemas.microsoft.com/office/drawing/2014/main" id="{EE28AADF-235A-B25A-9BF3-CC6A15D204AA}"/>
              </a:ext>
            </a:extLst>
          </p:cNvPr>
          <p:cNvSpPr/>
          <p:nvPr/>
        </p:nvSpPr>
        <p:spPr>
          <a:xfrm rot="16200000">
            <a:off x="5805578" y="4963113"/>
            <a:ext cx="743712" cy="743712"/>
          </a:xfrm>
          <a:prstGeom prst="pie">
            <a:avLst>
              <a:gd name="adj1" fmla="val 0"/>
              <a:gd name="adj2" fmla="val 8839672"/>
            </a:avLst>
          </a:prstGeom>
          <a:solidFill>
            <a:srgbClr val="EE3744"/>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132" name="Oval 70">
            <a:extLst>
              <a:ext uri="{FF2B5EF4-FFF2-40B4-BE49-F238E27FC236}">
                <a16:creationId xmlns:a16="http://schemas.microsoft.com/office/drawing/2014/main" id="{A3719DA0-2D5A-2B55-949D-BCAFDB241E2F}"/>
              </a:ext>
            </a:extLst>
          </p:cNvPr>
          <p:cNvSpPr>
            <a:spLocks noChangeArrowheads="1"/>
          </p:cNvSpPr>
          <p:nvPr/>
        </p:nvSpPr>
        <p:spPr bwMode="auto">
          <a:xfrm flipH="1">
            <a:off x="5861413" y="5018948"/>
            <a:ext cx="632043" cy="632040"/>
          </a:xfrm>
          <a:prstGeom prst="ellipse">
            <a:avLst/>
          </a:prstGeom>
          <a:ln w="3175">
            <a:solidFill>
              <a:srgbClr val="EE3744"/>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a:endParaRPr>
          </a:p>
        </p:txBody>
      </p:sp>
      <p:sp>
        <p:nvSpPr>
          <p:cNvPr id="133" name="Oval 52">
            <a:extLst>
              <a:ext uri="{FF2B5EF4-FFF2-40B4-BE49-F238E27FC236}">
                <a16:creationId xmlns:a16="http://schemas.microsoft.com/office/drawing/2014/main" id="{D6D37596-4256-6D84-8678-4045124E0976}"/>
              </a:ext>
            </a:extLst>
          </p:cNvPr>
          <p:cNvSpPr>
            <a:spLocks noChangeArrowheads="1"/>
          </p:cNvSpPr>
          <p:nvPr/>
        </p:nvSpPr>
        <p:spPr bwMode="auto">
          <a:xfrm flipH="1">
            <a:off x="5901441" y="1798875"/>
            <a:ext cx="1200276" cy="1200275"/>
          </a:xfrm>
          <a:prstGeom prst="ellipse">
            <a:avLst/>
          </a:prstGeom>
          <a:solidFill>
            <a:srgbClr val="595959"/>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LIFE</a:t>
            </a:r>
          </a:p>
        </p:txBody>
      </p:sp>
      <p:sp>
        <p:nvSpPr>
          <p:cNvPr id="134" name="Oval 53">
            <a:extLst>
              <a:ext uri="{FF2B5EF4-FFF2-40B4-BE49-F238E27FC236}">
                <a16:creationId xmlns:a16="http://schemas.microsoft.com/office/drawing/2014/main" id="{B1933A00-0A48-C6ED-8E8E-88F242DB9F12}"/>
              </a:ext>
            </a:extLst>
          </p:cNvPr>
          <p:cNvSpPr>
            <a:spLocks noChangeArrowheads="1"/>
          </p:cNvSpPr>
          <p:nvPr/>
        </p:nvSpPr>
        <p:spPr bwMode="auto">
          <a:xfrm flipH="1">
            <a:off x="5901441" y="3479031"/>
            <a:ext cx="1200276" cy="1200275"/>
          </a:xfrm>
          <a:prstGeom prst="ellipse">
            <a:avLst/>
          </a:prstGeom>
          <a:solidFill>
            <a:srgbClr val="EE3744"/>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600" dirty="0">
                <a:solidFill>
                  <a:schemeClr val="bg1"/>
                </a:solidFill>
              </a:rPr>
              <a:t>ENEAGRAMA</a:t>
            </a:r>
            <a:endParaRPr kumimoji="0" lang="en-US" sz="1467" b="0" i="0" u="none" strike="noStrike" kern="0" cap="none" spc="0" normalizeH="0" baseline="0" noProof="0" dirty="0">
              <a:ln>
                <a:noFill/>
              </a:ln>
              <a:solidFill>
                <a:schemeClr val="bg1"/>
              </a:solidFill>
              <a:effectLst/>
              <a:uLnTx/>
              <a:uFillTx/>
              <a:latin typeface="Arial" panose="020B0604020202020204"/>
            </a:endParaRPr>
          </a:p>
        </p:txBody>
      </p:sp>
      <p:sp>
        <p:nvSpPr>
          <p:cNvPr id="135" name="Oval 2">
            <a:extLst>
              <a:ext uri="{FF2B5EF4-FFF2-40B4-BE49-F238E27FC236}">
                <a16:creationId xmlns:a16="http://schemas.microsoft.com/office/drawing/2014/main" id="{B39499A8-FF3F-53B4-6BB5-17571D585BC8}"/>
              </a:ext>
            </a:extLst>
          </p:cNvPr>
          <p:cNvSpPr>
            <a:spLocks noChangeArrowheads="1"/>
          </p:cNvSpPr>
          <p:nvPr/>
        </p:nvSpPr>
        <p:spPr bwMode="auto">
          <a:xfrm>
            <a:off x="7369905" y="2481078"/>
            <a:ext cx="1799696" cy="1799693"/>
          </a:xfrm>
          <a:prstGeom prst="ellipse">
            <a:avLst/>
          </a:prstGeom>
          <a:solidFill>
            <a:srgbClr val="0000CC">
              <a:alpha val="29804"/>
            </a:srgbClr>
          </a:solidFill>
          <a:ln w="28575">
            <a:solidFill>
              <a:schemeClr val="tx1"/>
            </a:solidFill>
          </a:ln>
        </p:spPr>
        <p:txBody>
          <a:bodyPr vert="horz" wrap="square" lIns="121920" tIns="60960" rIns="121920" bIns="6096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ndParaRPr>
          </a:p>
        </p:txBody>
      </p:sp>
      <p:sp>
        <p:nvSpPr>
          <p:cNvPr id="136" name="TextBox 39">
            <a:extLst>
              <a:ext uri="{FF2B5EF4-FFF2-40B4-BE49-F238E27FC236}">
                <a16:creationId xmlns:a16="http://schemas.microsoft.com/office/drawing/2014/main" id="{17C6E940-6F41-5862-A818-030385902E23}"/>
              </a:ext>
            </a:extLst>
          </p:cNvPr>
          <p:cNvSpPr txBox="1"/>
          <p:nvPr/>
        </p:nvSpPr>
        <p:spPr>
          <a:xfrm>
            <a:off x="7456672" y="2965668"/>
            <a:ext cx="1712784" cy="800219"/>
          </a:xfrm>
          <a:prstGeom prst="rect">
            <a:avLst/>
          </a:prstGeom>
          <a:noFill/>
        </p:spPr>
        <p:txBody>
          <a:bodyPr wrap="square" rtlCol="0">
            <a:spAutoFit/>
          </a:bodyPr>
          <a:lstStyle/>
          <a:p>
            <a:pPr algn="ctr"/>
            <a:r>
              <a:rPr lang="es-ES" b="1" i="1" dirty="0">
                <a:solidFill>
                  <a:schemeClr val="bg1"/>
                </a:solidFill>
              </a:rPr>
              <a:t>JOURNEY</a:t>
            </a:r>
          </a:p>
          <a:p>
            <a:pPr algn="ctr"/>
            <a:r>
              <a:rPr lang="en-US" sz="1400" dirty="0" err="1">
                <a:solidFill>
                  <a:prstClr val="black"/>
                </a:solidFill>
                <a:latin typeface="Arial" panose="020B0604020202020204"/>
              </a:rPr>
              <a:t>hacia</a:t>
            </a:r>
            <a:r>
              <a:rPr lang="en-US" sz="1400" dirty="0">
                <a:solidFill>
                  <a:prstClr val="black"/>
                </a:solidFill>
                <a:latin typeface="Arial" panose="020B0604020202020204"/>
              </a:rPr>
              <a:t> la </a:t>
            </a:r>
            <a:r>
              <a:rPr lang="en-US" sz="1400" dirty="0" err="1">
                <a:solidFill>
                  <a:prstClr val="black"/>
                </a:solidFill>
                <a:latin typeface="Arial" panose="020B0604020202020204"/>
              </a:rPr>
              <a:t>transformación</a:t>
            </a:r>
            <a:endParaRPr lang="en-US" sz="1400" dirty="0">
              <a:solidFill>
                <a:prstClr val="black"/>
              </a:solidFill>
              <a:latin typeface="Arial" panose="020B0604020202020204"/>
            </a:endParaRPr>
          </a:p>
        </p:txBody>
      </p:sp>
      <p:sp>
        <p:nvSpPr>
          <p:cNvPr id="139" name="Oval 8">
            <a:extLst>
              <a:ext uri="{FF2B5EF4-FFF2-40B4-BE49-F238E27FC236}">
                <a16:creationId xmlns:a16="http://schemas.microsoft.com/office/drawing/2014/main" id="{6FD6685D-4203-7D03-DAEC-CE9CBA1E0A5F}"/>
              </a:ext>
            </a:extLst>
          </p:cNvPr>
          <p:cNvSpPr>
            <a:spLocks noChangeArrowheads="1"/>
          </p:cNvSpPr>
          <p:nvPr/>
        </p:nvSpPr>
        <p:spPr bwMode="auto">
          <a:xfrm>
            <a:off x="6828774" y="4647539"/>
            <a:ext cx="1200276" cy="1200275"/>
          </a:xfrm>
          <a:prstGeom prst="ellipse">
            <a:avLst/>
          </a:prstGeom>
          <a:solidFill>
            <a:srgbClr val="BED2F3">
              <a:lumMod val="75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LEAD</a:t>
            </a:r>
            <a:r>
              <a:rPr lang="en-US" sz="1467" kern="0" dirty="0">
                <a:solidFill>
                  <a:srgbClr val="FFFFFF"/>
                </a:solidFill>
                <a:latin typeface="Arial" panose="020B0604020202020204"/>
              </a:rPr>
              <a:t> 1.0</a:t>
            </a:r>
            <a:endParaRPr kumimoji="0" lang="en-US" sz="1467" b="0" i="0" u="none" strike="noStrike" kern="0" cap="none" spc="0" normalizeH="0" baseline="0" noProof="0" dirty="0">
              <a:ln>
                <a:noFill/>
              </a:ln>
              <a:solidFill>
                <a:srgbClr val="FFFFFF"/>
              </a:solidFill>
              <a:effectLst/>
              <a:uLnTx/>
              <a:uFillTx/>
              <a:latin typeface="Arial" panose="020B0604020202020204"/>
            </a:endParaRPr>
          </a:p>
        </p:txBody>
      </p:sp>
      <p:sp useBgFill="1">
        <p:nvSpPr>
          <p:cNvPr id="140" name="Oval 33">
            <a:extLst>
              <a:ext uri="{FF2B5EF4-FFF2-40B4-BE49-F238E27FC236}">
                <a16:creationId xmlns:a16="http://schemas.microsoft.com/office/drawing/2014/main" id="{793A8C67-03F3-B049-66B8-C30C1FD3629F}"/>
              </a:ext>
            </a:extLst>
          </p:cNvPr>
          <p:cNvSpPr>
            <a:spLocks noChangeArrowheads="1"/>
          </p:cNvSpPr>
          <p:nvPr/>
        </p:nvSpPr>
        <p:spPr bwMode="auto">
          <a:xfrm>
            <a:off x="6156886" y="5760912"/>
            <a:ext cx="632043" cy="632040"/>
          </a:xfrm>
          <a:prstGeom prst="ellipse">
            <a:avLst/>
          </a:prstGeom>
          <a:ln w="3175">
            <a:solidFill>
              <a:srgbClr val="58595B">
                <a:lumMod val="50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cxnSp>
        <p:nvCxnSpPr>
          <p:cNvPr id="141" name="Conector reto 10312">
            <a:extLst>
              <a:ext uri="{FF2B5EF4-FFF2-40B4-BE49-F238E27FC236}">
                <a16:creationId xmlns:a16="http://schemas.microsoft.com/office/drawing/2014/main" id="{2ED6E18F-4594-8FA7-B97E-19A3B868E224}"/>
              </a:ext>
            </a:extLst>
          </p:cNvPr>
          <p:cNvCxnSpPr>
            <a:stCxn id="140" idx="7"/>
            <a:endCxn id="139" idx="3"/>
          </p:cNvCxnSpPr>
          <p:nvPr/>
        </p:nvCxnSpPr>
        <p:spPr>
          <a:xfrm flipV="1">
            <a:off x="6696368" y="5672038"/>
            <a:ext cx="308182" cy="181434"/>
          </a:xfrm>
          <a:prstGeom prst="line">
            <a:avLst/>
          </a:prstGeom>
          <a:noFill/>
          <a:ln w="6350" cap="flat" cmpd="sng" algn="ctr">
            <a:solidFill>
              <a:srgbClr val="10069F"/>
            </a:solidFill>
            <a:prstDash val="solid"/>
            <a:miter lim="800000"/>
          </a:ln>
          <a:effectLst/>
        </p:spPr>
      </p:cxnSp>
      <p:sp useBgFill="1">
        <p:nvSpPr>
          <p:cNvPr id="142" name="Oval 33">
            <a:extLst>
              <a:ext uri="{FF2B5EF4-FFF2-40B4-BE49-F238E27FC236}">
                <a16:creationId xmlns:a16="http://schemas.microsoft.com/office/drawing/2014/main" id="{71E8D36D-5D8F-A85E-6C55-B3CD86A79A91}"/>
              </a:ext>
            </a:extLst>
          </p:cNvPr>
          <p:cNvSpPr>
            <a:spLocks noChangeArrowheads="1"/>
          </p:cNvSpPr>
          <p:nvPr/>
        </p:nvSpPr>
        <p:spPr bwMode="auto">
          <a:xfrm>
            <a:off x="7107406" y="5994936"/>
            <a:ext cx="632043" cy="632040"/>
          </a:xfrm>
          <a:prstGeom prst="ellipse">
            <a:avLst/>
          </a:prstGeom>
          <a:ln w="3175">
            <a:solidFill>
              <a:srgbClr val="58595B">
                <a:lumMod val="50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sp useBgFill="1">
        <p:nvSpPr>
          <p:cNvPr id="143" name="Oval 33">
            <a:extLst>
              <a:ext uri="{FF2B5EF4-FFF2-40B4-BE49-F238E27FC236}">
                <a16:creationId xmlns:a16="http://schemas.microsoft.com/office/drawing/2014/main" id="{8EBFEE5D-04BF-7AA8-22F2-203C0F190942}"/>
              </a:ext>
            </a:extLst>
          </p:cNvPr>
          <p:cNvSpPr>
            <a:spLocks noChangeArrowheads="1"/>
          </p:cNvSpPr>
          <p:nvPr/>
        </p:nvSpPr>
        <p:spPr bwMode="auto">
          <a:xfrm>
            <a:off x="8042951" y="5821776"/>
            <a:ext cx="632043" cy="632040"/>
          </a:xfrm>
          <a:prstGeom prst="ellipse">
            <a:avLst/>
          </a:prstGeom>
          <a:ln w="3175">
            <a:solidFill>
              <a:srgbClr val="58595B">
                <a:lumMod val="50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a:endParaRPr>
          </a:p>
        </p:txBody>
      </p:sp>
      <p:cxnSp>
        <p:nvCxnSpPr>
          <p:cNvPr id="144" name="Conector reto 10315">
            <a:extLst>
              <a:ext uri="{FF2B5EF4-FFF2-40B4-BE49-F238E27FC236}">
                <a16:creationId xmlns:a16="http://schemas.microsoft.com/office/drawing/2014/main" id="{184F79ED-426D-16A0-FB67-29D6FF6C8DEB}"/>
              </a:ext>
            </a:extLst>
          </p:cNvPr>
          <p:cNvCxnSpPr>
            <a:cxnSpLocks/>
            <a:stCxn id="142" idx="0"/>
            <a:endCxn id="139" idx="4"/>
          </p:cNvCxnSpPr>
          <p:nvPr/>
        </p:nvCxnSpPr>
        <p:spPr>
          <a:xfrm flipV="1">
            <a:off x="7423428" y="5847814"/>
            <a:ext cx="5484" cy="147122"/>
          </a:xfrm>
          <a:prstGeom prst="line">
            <a:avLst/>
          </a:prstGeom>
          <a:noFill/>
          <a:ln w="6350" cap="flat" cmpd="sng" algn="ctr">
            <a:solidFill>
              <a:srgbClr val="10069F"/>
            </a:solidFill>
            <a:prstDash val="solid"/>
            <a:miter lim="800000"/>
          </a:ln>
          <a:effectLst/>
        </p:spPr>
      </p:cxnSp>
      <p:cxnSp>
        <p:nvCxnSpPr>
          <p:cNvPr id="145" name="Conector reto 10316">
            <a:extLst>
              <a:ext uri="{FF2B5EF4-FFF2-40B4-BE49-F238E27FC236}">
                <a16:creationId xmlns:a16="http://schemas.microsoft.com/office/drawing/2014/main" id="{1EC0A532-01D6-D1B7-F5F6-428F107E79B0}"/>
              </a:ext>
            </a:extLst>
          </p:cNvPr>
          <p:cNvCxnSpPr>
            <a:cxnSpLocks/>
            <a:stCxn id="143" idx="1"/>
            <a:endCxn id="139" idx="5"/>
          </p:cNvCxnSpPr>
          <p:nvPr/>
        </p:nvCxnSpPr>
        <p:spPr>
          <a:xfrm flipH="1" flipV="1">
            <a:off x="7853274" y="5672038"/>
            <a:ext cx="282238" cy="242298"/>
          </a:xfrm>
          <a:prstGeom prst="line">
            <a:avLst/>
          </a:prstGeom>
          <a:noFill/>
          <a:ln w="6350" cap="flat" cmpd="sng" algn="ctr">
            <a:solidFill>
              <a:srgbClr val="10069F"/>
            </a:solidFill>
            <a:prstDash val="solid"/>
            <a:miter lim="800000"/>
          </a:ln>
          <a:effectLst/>
        </p:spPr>
      </p:cxnSp>
      <p:cxnSp>
        <p:nvCxnSpPr>
          <p:cNvPr id="146" name="Conector reto 10317">
            <a:extLst>
              <a:ext uri="{FF2B5EF4-FFF2-40B4-BE49-F238E27FC236}">
                <a16:creationId xmlns:a16="http://schemas.microsoft.com/office/drawing/2014/main" id="{6B47A4FC-7D9A-8943-CAB6-61D6DAA34FDB}"/>
              </a:ext>
            </a:extLst>
          </p:cNvPr>
          <p:cNvCxnSpPr>
            <a:cxnSpLocks/>
            <a:stCxn id="135" idx="4"/>
            <a:endCxn id="139" idx="0"/>
          </p:cNvCxnSpPr>
          <p:nvPr/>
        </p:nvCxnSpPr>
        <p:spPr>
          <a:xfrm flipH="1">
            <a:off x="7428912" y="4280771"/>
            <a:ext cx="840841" cy="366768"/>
          </a:xfrm>
          <a:prstGeom prst="line">
            <a:avLst/>
          </a:prstGeom>
          <a:noFill/>
          <a:ln w="6350" cap="flat" cmpd="sng" algn="ctr">
            <a:solidFill>
              <a:srgbClr val="10069F"/>
            </a:solidFill>
            <a:prstDash val="solid"/>
            <a:miter lim="800000"/>
          </a:ln>
          <a:effectLst/>
        </p:spPr>
      </p:cxnSp>
      <p:sp>
        <p:nvSpPr>
          <p:cNvPr id="147" name="Oval 8">
            <a:extLst>
              <a:ext uri="{FF2B5EF4-FFF2-40B4-BE49-F238E27FC236}">
                <a16:creationId xmlns:a16="http://schemas.microsoft.com/office/drawing/2014/main" id="{73372E18-42B4-C4AF-F036-ED93EF904F85}"/>
              </a:ext>
            </a:extLst>
          </p:cNvPr>
          <p:cNvSpPr>
            <a:spLocks noChangeArrowheads="1"/>
          </p:cNvSpPr>
          <p:nvPr/>
        </p:nvSpPr>
        <p:spPr bwMode="auto">
          <a:xfrm>
            <a:off x="8547647" y="4572692"/>
            <a:ext cx="1200276" cy="1200275"/>
          </a:xfrm>
          <a:prstGeom prst="ellipse">
            <a:avLst/>
          </a:prstGeom>
          <a:solidFill>
            <a:srgbClr val="33D196">
              <a:lumMod val="60000"/>
              <a:lumOff val="40000"/>
            </a:srgbClr>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rPr>
              <a:t>MIND-1.0</a:t>
            </a:r>
          </a:p>
        </p:txBody>
      </p:sp>
      <p:sp useBgFill="1">
        <p:nvSpPr>
          <p:cNvPr id="148" name="Oval 33">
            <a:extLst>
              <a:ext uri="{FF2B5EF4-FFF2-40B4-BE49-F238E27FC236}">
                <a16:creationId xmlns:a16="http://schemas.microsoft.com/office/drawing/2014/main" id="{3AA418C2-4437-57D0-7340-C11112637033}"/>
              </a:ext>
            </a:extLst>
          </p:cNvPr>
          <p:cNvSpPr>
            <a:spLocks noChangeArrowheads="1"/>
          </p:cNvSpPr>
          <p:nvPr/>
        </p:nvSpPr>
        <p:spPr bwMode="auto">
          <a:xfrm>
            <a:off x="9782438" y="5953801"/>
            <a:ext cx="632043" cy="632040"/>
          </a:xfrm>
          <a:prstGeom prst="ellipse">
            <a:avLst/>
          </a:prstGeom>
          <a:ln w="3175">
            <a:solidFill>
              <a:srgbClr val="33D196">
                <a:lumMod val="75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cxnSp>
        <p:nvCxnSpPr>
          <p:cNvPr id="149" name="Conector reto 10320">
            <a:extLst>
              <a:ext uri="{FF2B5EF4-FFF2-40B4-BE49-F238E27FC236}">
                <a16:creationId xmlns:a16="http://schemas.microsoft.com/office/drawing/2014/main" id="{82E29DA6-BCF1-80D6-8FD0-D078F758DADC}"/>
              </a:ext>
            </a:extLst>
          </p:cNvPr>
          <p:cNvCxnSpPr>
            <a:cxnSpLocks/>
            <a:stCxn id="148" idx="1"/>
            <a:endCxn id="147" idx="5"/>
          </p:cNvCxnSpPr>
          <p:nvPr/>
        </p:nvCxnSpPr>
        <p:spPr>
          <a:xfrm flipH="1" flipV="1">
            <a:off x="9572147" y="5597191"/>
            <a:ext cx="302852" cy="449170"/>
          </a:xfrm>
          <a:prstGeom prst="line">
            <a:avLst/>
          </a:prstGeom>
          <a:noFill/>
          <a:ln w="6350" cap="flat" cmpd="sng" algn="ctr">
            <a:solidFill>
              <a:srgbClr val="33D196">
                <a:lumMod val="75000"/>
              </a:srgbClr>
            </a:solidFill>
            <a:prstDash val="solid"/>
            <a:miter lim="800000"/>
          </a:ln>
          <a:effectLst/>
        </p:spPr>
      </p:cxnSp>
      <p:sp useBgFill="1">
        <p:nvSpPr>
          <p:cNvPr id="150" name="Oval 33">
            <a:extLst>
              <a:ext uri="{FF2B5EF4-FFF2-40B4-BE49-F238E27FC236}">
                <a16:creationId xmlns:a16="http://schemas.microsoft.com/office/drawing/2014/main" id="{DC02DC64-44E5-23E2-312B-F780523F138F}"/>
              </a:ext>
            </a:extLst>
          </p:cNvPr>
          <p:cNvSpPr>
            <a:spLocks noChangeArrowheads="1"/>
          </p:cNvSpPr>
          <p:nvPr/>
        </p:nvSpPr>
        <p:spPr bwMode="auto">
          <a:xfrm>
            <a:off x="10321920" y="5531794"/>
            <a:ext cx="632043" cy="632040"/>
          </a:xfrm>
          <a:prstGeom prst="ellipse">
            <a:avLst/>
          </a:prstGeom>
          <a:ln w="3175">
            <a:solidFill>
              <a:srgbClr val="33D196">
                <a:lumMod val="75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Arial" panose="020B0604020202020204"/>
            </a:endParaRPr>
          </a:p>
        </p:txBody>
      </p:sp>
      <p:cxnSp>
        <p:nvCxnSpPr>
          <p:cNvPr id="151" name="Conector reto 10322">
            <a:extLst>
              <a:ext uri="{FF2B5EF4-FFF2-40B4-BE49-F238E27FC236}">
                <a16:creationId xmlns:a16="http://schemas.microsoft.com/office/drawing/2014/main" id="{9C078A26-B394-88EF-EC2B-64348971AB1F}"/>
              </a:ext>
            </a:extLst>
          </p:cNvPr>
          <p:cNvCxnSpPr>
            <a:cxnSpLocks/>
            <a:stCxn id="153" idx="0"/>
            <a:endCxn id="147" idx="5"/>
          </p:cNvCxnSpPr>
          <p:nvPr/>
        </p:nvCxnSpPr>
        <p:spPr>
          <a:xfrm flipV="1">
            <a:off x="9250493" y="5597191"/>
            <a:ext cx="321654" cy="415604"/>
          </a:xfrm>
          <a:prstGeom prst="line">
            <a:avLst/>
          </a:prstGeom>
          <a:noFill/>
          <a:ln w="6350" cap="flat" cmpd="sng" algn="ctr">
            <a:solidFill>
              <a:srgbClr val="33D196">
                <a:lumMod val="75000"/>
              </a:srgbClr>
            </a:solidFill>
            <a:prstDash val="solid"/>
            <a:miter lim="800000"/>
          </a:ln>
          <a:effectLst/>
        </p:spPr>
      </p:cxnSp>
      <p:cxnSp>
        <p:nvCxnSpPr>
          <p:cNvPr id="152" name="Conector reto 10323">
            <a:extLst>
              <a:ext uri="{FF2B5EF4-FFF2-40B4-BE49-F238E27FC236}">
                <a16:creationId xmlns:a16="http://schemas.microsoft.com/office/drawing/2014/main" id="{B688AD7E-3412-1D53-3C6A-E77BFAF92FFB}"/>
              </a:ext>
            </a:extLst>
          </p:cNvPr>
          <p:cNvCxnSpPr>
            <a:cxnSpLocks/>
            <a:stCxn id="150" idx="1"/>
            <a:endCxn id="147" idx="5"/>
          </p:cNvCxnSpPr>
          <p:nvPr/>
        </p:nvCxnSpPr>
        <p:spPr>
          <a:xfrm flipH="1" flipV="1">
            <a:off x="9572147" y="5597191"/>
            <a:ext cx="842334" cy="27163"/>
          </a:xfrm>
          <a:prstGeom prst="line">
            <a:avLst/>
          </a:prstGeom>
          <a:noFill/>
          <a:ln w="6350" cap="flat" cmpd="sng" algn="ctr">
            <a:solidFill>
              <a:srgbClr val="33D196">
                <a:lumMod val="75000"/>
              </a:srgbClr>
            </a:solidFill>
            <a:prstDash val="solid"/>
            <a:miter lim="800000"/>
          </a:ln>
          <a:effectLst/>
        </p:spPr>
      </p:cxnSp>
      <p:sp useBgFill="1">
        <p:nvSpPr>
          <p:cNvPr id="153" name="Oval 33">
            <a:extLst>
              <a:ext uri="{FF2B5EF4-FFF2-40B4-BE49-F238E27FC236}">
                <a16:creationId xmlns:a16="http://schemas.microsoft.com/office/drawing/2014/main" id="{A5D84D0A-55B5-84F4-4CEC-FAC3896098C5}"/>
              </a:ext>
            </a:extLst>
          </p:cNvPr>
          <p:cNvSpPr>
            <a:spLocks noChangeArrowheads="1"/>
          </p:cNvSpPr>
          <p:nvPr/>
        </p:nvSpPr>
        <p:spPr bwMode="auto">
          <a:xfrm>
            <a:off x="8934471" y="6012795"/>
            <a:ext cx="632043" cy="632040"/>
          </a:xfrm>
          <a:prstGeom prst="ellipse">
            <a:avLst/>
          </a:prstGeom>
          <a:ln w="3175">
            <a:solidFill>
              <a:srgbClr val="33D196">
                <a:lumMod val="75000"/>
              </a:srgbClr>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a:endParaRPr>
          </a:p>
        </p:txBody>
      </p:sp>
      <p:cxnSp>
        <p:nvCxnSpPr>
          <p:cNvPr id="154" name="Conector reto 10325">
            <a:extLst>
              <a:ext uri="{FF2B5EF4-FFF2-40B4-BE49-F238E27FC236}">
                <a16:creationId xmlns:a16="http://schemas.microsoft.com/office/drawing/2014/main" id="{7B604D61-4E63-7317-E9D7-C070742CD206}"/>
              </a:ext>
            </a:extLst>
          </p:cNvPr>
          <p:cNvCxnSpPr>
            <a:cxnSpLocks/>
            <a:stCxn id="135" idx="4"/>
            <a:endCxn id="147" idx="0"/>
          </p:cNvCxnSpPr>
          <p:nvPr/>
        </p:nvCxnSpPr>
        <p:spPr>
          <a:xfrm>
            <a:off x="8269753" y="4280771"/>
            <a:ext cx="878032" cy="291921"/>
          </a:xfrm>
          <a:prstGeom prst="line">
            <a:avLst/>
          </a:prstGeom>
          <a:noFill/>
          <a:ln w="6350" cap="flat" cmpd="sng" algn="ctr">
            <a:solidFill>
              <a:srgbClr val="33D196">
                <a:lumMod val="75000"/>
              </a:srgbClr>
            </a:solidFill>
            <a:prstDash val="solid"/>
            <a:miter lim="800000"/>
          </a:ln>
          <a:effectLst/>
        </p:spPr>
      </p:cxnSp>
      <p:cxnSp>
        <p:nvCxnSpPr>
          <p:cNvPr id="158" name="Straight Connector 38">
            <a:extLst>
              <a:ext uri="{FF2B5EF4-FFF2-40B4-BE49-F238E27FC236}">
                <a16:creationId xmlns:a16="http://schemas.microsoft.com/office/drawing/2014/main" id="{D15947B4-1722-4372-1790-5EA0330D785F}"/>
              </a:ext>
            </a:extLst>
          </p:cNvPr>
          <p:cNvCxnSpPr>
            <a:cxnSpLocks/>
          </p:cNvCxnSpPr>
          <p:nvPr/>
        </p:nvCxnSpPr>
        <p:spPr>
          <a:xfrm flipV="1">
            <a:off x="8259984" y="1214725"/>
            <a:ext cx="1131433" cy="414328"/>
          </a:xfrm>
          <a:prstGeom prst="line">
            <a:avLst/>
          </a:prstGeom>
          <a:noFill/>
          <a:ln w="6350" cap="flat" cmpd="sng" algn="ctr">
            <a:solidFill>
              <a:srgbClr val="10069F"/>
            </a:solidFill>
            <a:prstDash val="solid"/>
            <a:miter lim="800000"/>
          </a:ln>
          <a:effectLst/>
        </p:spPr>
      </p:cxnSp>
      <p:sp>
        <p:nvSpPr>
          <p:cNvPr id="159" name="Pie 22">
            <a:extLst>
              <a:ext uri="{FF2B5EF4-FFF2-40B4-BE49-F238E27FC236}">
                <a16:creationId xmlns:a16="http://schemas.microsoft.com/office/drawing/2014/main" id="{CAD2F19B-3B73-081A-2020-15F2F4CF4636}"/>
              </a:ext>
            </a:extLst>
          </p:cNvPr>
          <p:cNvSpPr/>
          <p:nvPr/>
        </p:nvSpPr>
        <p:spPr>
          <a:xfrm rot="16200000">
            <a:off x="9043875" y="802171"/>
            <a:ext cx="743712" cy="743712"/>
          </a:xfrm>
          <a:prstGeom prst="pie">
            <a:avLst>
              <a:gd name="adj1" fmla="val 0"/>
              <a:gd name="adj2" fmla="val 19354869"/>
            </a:avLst>
          </a:prstGeom>
          <a:solidFill>
            <a:srgbClr val="BED2F3"/>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useBgFill="1">
        <p:nvSpPr>
          <p:cNvPr id="160" name="Oval 13">
            <a:extLst>
              <a:ext uri="{FF2B5EF4-FFF2-40B4-BE49-F238E27FC236}">
                <a16:creationId xmlns:a16="http://schemas.microsoft.com/office/drawing/2014/main" id="{3025646D-C33F-17EB-BB86-8E677B1AF685}"/>
              </a:ext>
            </a:extLst>
          </p:cNvPr>
          <p:cNvSpPr>
            <a:spLocks noChangeArrowheads="1"/>
          </p:cNvSpPr>
          <p:nvPr/>
        </p:nvSpPr>
        <p:spPr bwMode="auto">
          <a:xfrm>
            <a:off x="9099710" y="858007"/>
            <a:ext cx="632043" cy="632040"/>
          </a:xfrm>
          <a:prstGeom prst="ellipse">
            <a:avLst/>
          </a:prstGeom>
          <a:ln w="3175">
            <a:solidFill>
              <a:srgbClr val="10069F"/>
            </a:solid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a:endParaRPr>
          </a:p>
        </p:txBody>
      </p:sp>
      <p:cxnSp>
        <p:nvCxnSpPr>
          <p:cNvPr id="161" name="Straight Connector 48">
            <a:extLst>
              <a:ext uri="{FF2B5EF4-FFF2-40B4-BE49-F238E27FC236}">
                <a16:creationId xmlns:a16="http://schemas.microsoft.com/office/drawing/2014/main" id="{5162F612-AD4D-48ED-C277-5E99687B8C3E}"/>
              </a:ext>
            </a:extLst>
          </p:cNvPr>
          <p:cNvCxnSpPr>
            <a:cxnSpLocks/>
            <a:stCxn id="135" idx="0"/>
            <a:endCxn id="162" idx="4"/>
          </p:cNvCxnSpPr>
          <p:nvPr/>
        </p:nvCxnSpPr>
        <p:spPr>
          <a:xfrm flipH="1" flipV="1">
            <a:off x="8234363" y="2249510"/>
            <a:ext cx="35390" cy="231568"/>
          </a:xfrm>
          <a:prstGeom prst="line">
            <a:avLst/>
          </a:prstGeom>
          <a:noFill/>
          <a:ln w="6350" cap="flat" cmpd="sng" algn="ctr">
            <a:solidFill>
              <a:srgbClr val="10069F"/>
            </a:solidFill>
            <a:prstDash val="solid"/>
            <a:miter lim="800000"/>
          </a:ln>
          <a:effectLst/>
        </p:spPr>
      </p:cxnSp>
      <p:sp>
        <p:nvSpPr>
          <p:cNvPr id="162" name="Oval 7">
            <a:extLst>
              <a:ext uri="{FF2B5EF4-FFF2-40B4-BE49-F238E27FC236}">
                <a16:creationId xmlns:a16="http://schemas.microsoft.com/office/drawing/2014/main" id="{6D947AB7-1774-262F-D522-0BE897BBC2DF}"/>
              </a:ext>
            </a:extLst>
          </p:cNvPr>
          <p:cNvSpPr>
            <a:spLocks noChangeArrowheads="1"/>
          </p:cNvSpPr>
          <p:nvPr/>
        </p:nvSpPr>
        <p:spPr bwMode="auto">
          <a:xfrm>
            <a:off x="7634225" y="1049235"/>
            <a:ext cx="1200276" cy="1200275"/>
          </a:xfrm>
          <a:prstGeom prst="ellipse">
            <a:avLst/>
          </a:prstGeom>
          <a:solidFill>
            <a:srgbClr val="BED2F3"/>
          </a:solidFill>
          <a:ln>
            <a:noFill/>
          </a:ln>
        </p:spPr>
        <p:txBody>
          <a:bodyPr vert="horz" wrap="non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Empow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Arial" panose="020B0604020202020204"/>
              </a:rPr>
              <a:t>People</a:t>
            </a:r>
          </a:p>
        </p:txBody>
      </p:sp>
      <p:sp>
        <p:nvSpPr>
          <p:cNvPr id="176" name="CaixaDeTexto 1">
            <a:extLst>
              <a:ext uri="{FF2B5EF4-FFF2-40B4-BE49-F238E27FC236}">
                <a16:creationId xmlns:a16="http://schemas.microsoft.com/office/drawing/2014/main" id="{7904F9E7-6A77-80B1-9CDB-2717F95B7975}"/>
              </a:ext>
            </a:extLst>
          </p:cNvPr>
          <p:cNvSpPr txBox="1"/>
          <p:nvPr/>
        </p:nvSpPr>
        <p:spPr>
          <a:xfrm>
            <a:off x="34180" y="50241"/>
            <a:ext cx="9367251"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srgbClr val="10069F"/>
                </a:solidFill>
                <a:effectLst/>
                <a:uLnTx/>
                <a:uFillTx/>
                <a:latin typeface="Arial" panose="020B0604020202020204"/>
                <a:ea typeface="+mn-ea"/>
                <a:cs typeface="+mn-cs"/>
              </a:rPr>
              <a:t>Programa de Desarrollo Integr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srgbClr val="10069F"/>
                </a:solidFill>
                <a:effectLst/>
                <a:uLnTx/>
                <a:uFillTx/>
                <a:latin typeface="Arial" panose="020B0604020202020204"/>
                <a:ea typeface="+mn-ea"/>
                <a:cs typeface="+mn-cs"/>
              </a:rPr>
              <a:t> </a:t>
            </a:r>
            <a:r>
              <a:rPr kumimoji="0" lang="es-ES" sz="4000" b="1" i="0" u="none" strike="noStrike" kern="1200" cap="none" spc="-300" normalizeH="0" baseline="0" noProof="0" dirty="0" err="1">
                <a:ln>
                  <a:noFill/>
                </a:ln>
                <a:solidFill>
                  <a:srgbClr val="FF3399"/>
                </a:solidFill>
                <a:effectLst/>
                <a:uLnTx/>
                <a:uFillTx/>
                <a:latin typeface="Corbel"/>
                <a:ea typeface="+mj-ea"/>
                <a:cs typeface="+mj-cs"/>
              </a:rPr>
              <a:t>CoMe</a:t>
            </a:r>
            <a:r>
              <a:rPr kumimoji="0" lang="es-ES" sz="4000" b="1" i="0" u="none" strike="noStrike" kern="1200" cap="none" spc="-300" normalizeH="0" baseline="0" noProof="0" dirty="0">
                <a:ln>
                  <a:noFill/>
                </a:ln>
                <a:solidFill>
                  <a:srgbClr val="FF3399"/>
                </a:solidFill>
                <a:effectLst/>
                <a:uLnTx/>
                <a:uFillTx/>
                <a:latin typeface="Corbel"/>
                <a:ea typeface="+mj-ea"/>
                <a:cs typeface="+mj-cs"/>
              </a:rPr>
              <a:t> ON</a:t>
            </a:r>
            <a:br>
              <a:rPr kumimoji="0" lang="es-ES" sz="4000" b="1" i="0" u="none" strike="noStrike" kern="1200" cap="none" spc="-300" normalizeH="0" baseline="0" noProof="0" dirty="0">
                <a:ln>
                  <a:noFill/>
                </a:ln>
                <a:solidFill>
                  <a:srgbClr val="0000CC"/>
                </a:solidFill>
                <a:effectLst/>
                <a:uLnTx/>
                <a:uFillTx/>
                <a:latin typeface="Corbel"/>
                <a:ea typeface="+mj-ea"/>
                <a:cs typeface="+mj-cs"/>
              </a:rPr>
            </a:br>
            <a:endParaRPr kumimoji="0" lang="en-US" sz="4000" b="0" i="1" u="none" strike="noStrike" kern="1200" cap="none" spc="0" normalizeH="0" baseline="0" noProof="0" dirty="0">
              <a:ln>
                <a:noFill/>
              </a:ln>
              <a:solidFill>
                <a:srgbClr val="FF0000"/>
              </a:solidFill>
              <a:effectLst/>
              <a:uLnTx/>
              <a:uFillTx/>
              <a:latin typeface="Arial" panose="020B0604020202020204"/>
              <a:ea typeface="+mn-ea"/>
              <a:cs typeface="+mn-cs"/>
            </a:endParaRPr>
          </a:p>
        </p:txBody>
      </p:sp>
      <p:sp>
        <p:nvSpPr>
          <p:cNvPr id="177" name="CuadroTexto 176">
            <a:extLst>
              <a:ext uri="{FF2B5EF4-FFF2-40B4-BE49-F238E27FC236}">
                <a16:creationId xmlns:a16="http://schemas.microsoft.com/office/drawing/2014/main" id="{17B6D0C4-6F94-BA62-2289-990E84E4C233}"/>
              </a:ext>
            </a:extLst>
          </p:cNvPr>
          <p:cNvSpPr txBox="1"/>
          <p:nvPr/>
        </p:nvSpPr>
        <p:spPr>
          <a:xfrm>
            <a:off x="995698" y="1158385"/>
            <a:ext cx="1119630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1" u="none" strike="noStrike" kern="1200" cap="none" spc="0" normalizeH="0" baseline="0" noProof="0" dirty="0" err="1">
                <a:ln>
                  <a:noFill/>
                </a:ln>
                <a:solidFill>
                  <a:srgbClr val="10069F"/>
                </a:solidFill>
                <a:effectLst/>
                <a:uLnTx/>
                <a:uFillTx/>
                <a:latin typeface="Arial" panose="020B0604020202020204"/>
                <a:ea typeface="+mn-ea"/>
                <a:cs typeface="+mn-cs"/>
              </a:rPr>
              <a:t>Enciendeté</a:t>
            </a:r>
            <a:r>
              <a:rPr kumimoji="0" lang="es-ES" sz="1400" i="1" u="none" strike="noStrike" kern="1200" cap="none" spc="0" normalizeH="0" baseline="0" noProof="0" dirty="0">
                <a:ln>
                  <a:noFill/>
                </a:ln>
                <a:solidFill>
                  <a:srgbClr val="10069F"/>
                </a:solidFill>
                <a:effectLst/>
                <a:uLnTx/>
                <a:uFillTx/>
                <a:latin typeface="Arial" panose="020B0604020202020204"/>
                <a:ea typeface="+mn-ea"/>
                <a:cs typeface="+mn-cs"/>
              </a:rPr>
              <a:t> </a:t>
            </a:r>
            <a:r>
              <a:rPr lang="es-ES" sz="1400" i="1" dirty="0">
                <a:solidFill>
                  <a:srgbClr val="10069F"/>
                </a:solidFill>
                <a:latin typeface="Arial" panose="020B0604020202020204"/>
              </a:rPr>
              <a:t>y transforma tu </a:t>
            </a:r>
            <a:r>
              <a:rPr kumimoji="0" lang="es-ES" sz="1400" i="1" u="none" strike="noStrike" kern="1200" cap="none" spc="0" normalizeH="0" baseline="0" noProof="0" dirty="0">
                <a:ln>
                  <a:noFill/>
                </a:ln>
                <a:solidFill>
                  <a:srgbClr val="10069F"/>
                </a:solidFill>
                <a:effectLst/>
                <a:uLnTx/>
                <a:uFillTx/>
                <a:latin typeface="Arial" panose="020B0604020202020204"/>
                <a:ea typeface="+mn-ea"/>
                <a:cs typeface="+mn-cs"/>
              </a:rPr>
              <a:t>vida</a:t>
            </a:r>
            <a:endParaRPr kumimoji="0" lang="en-US" sz="1400" i="1"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93" name="Cuerda 192">
            <a:extLst>
              <a:ext uri="{FF2B5EF4-FFF2-40B4-BE49-F238E27FC236}">
                <a16:creationId xmlns:a16="http://schemas.microsoft.com/office/drawing/2014/main" id="{B4F0F613-6D21-4180-9620-6323706F8A08}"/>
              </a:ext>
            </a:extLst>
          </p:cNvPr>
          <p:cNvSpPr/>
          <p:nvPr/>
        </p:nvSpPr>
        <p:spPr>
          <a:xfrm rot="12114377">
            <a:off x="-641948" y="2875881"/>
            <a:ext cx="2149311" cy="2184496"/>
          </a:xfrm>
          <a:prstGeom prst="chord">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194" name="Gráfico 193" descr="Cerebro en la cabeza con relleno sólido">
            <a:extLst>
              <a:ext uri="{FF2B5EF4-FFF2-40B4-BE49-F238E27FC236}">
                <a16:creationId xmlns:a16="http://schemas.microsoft.com/office/drawing/2014/main" id="{67659AFF-2CBC-A401-5AAA-E32F4E2CDF5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15" y="3401091"/>
            <a:ext cx="1184638" cy="1184638"/>
          </a:xfrm>
          <a:prstGeom prst="rect">
            <a:avLst/>
          </a:prstGeom>
        </p:spPr>
      </p:pic>
      <p:sp>
        <p:nvSpPr>
          <p:cNvPr id="196" name="CuadroTexto 195">
            <a:extLst>
              <a:ext uri="{FF2B5EF4-FFF2-40B4-BE49-F238E27FC236}">
                <a16:creationId xmlns:a16="http://schemas.microsoft.com/office/drawing/2014/main" id="{0C54BCB8-69C7-541F-DE82-F67808167BFE}"/>
              </a:ext>
            </a:extLst>
          </p:cNvPr>
          <p:cNvSpPr txBox="1"/>
          <p:nvPr/>
        </p:nvSpPr>
        <p:spPr>
          <a:xfrm>
            <a:off x="1070390" y="2559018"/>
            <a:ext cx="2130358" cy="646331"/>
          </a:xfrm>
          <a:prstGeom prst="rect">
            <a:avLst/>
          </a:prstGeom>
          <a:noFill/>
        </p:spPr>
        <p:txBody>
          <a:bodyPr wrap="square">
            <a:spAutoFit/>
          </a:bodyPr>
          <a:lstStyle/>
          <a:p>
            <a:pPr marL="285750" indent="-285750" algn="ctr">
              <a:buFont typeface="Arial" panose="020B0604020202020204" pitchFamily="34" charset="0"/>
              <a:buChar char="•"/>
            </a:pPr>
            <a:r>
              <a:rPr lang="en-US" b="1" dirty="0">
                <a:solidFill>
                  <a:srgbClr val="0000CC"/>
                </a:solidFill>
                <a:latin typeface="Arial" panose="020B0604020202020204"/>
              </a:rPr>
              <a:t>LIFE </a:t>
            </a:r>
          </a:p>
          <a:p>
            <a:pPr algn="ctr"/>
            <a:r>
              <a:rPr lang="en-US" dirty="0">
                <a:solidFill>
                  <a:prstClr val="black"/>
                </a:solidFill>
                <a:latin typeface="Arial" panose="020B0604020202020204"/>
              </a:rPr>
              <a:t>Mi </a:t>
            </a:r>
            <a:r>
              <a:rPr lang="en-US" dirty="0" err="1">
                <a:solidFill>
                  <a:prstClr val="black"/>
                </a:solidFill>
                <a:latin typeface="Arial" panose="020B0604020202020204"/>
              </a:rPr>
              <a:t>Proposito</a:t>
            </a:r>
            <a:endParaRPr lang="en-US" dirty="0">
              <a:solidFill>
                <a:prstClr val="black"/>
              </a:solidFill>
              <a:latin typeface="Arial" panose="020B0604020202020204"/>
            </a:endParaRPr>
          </a:p>
        </p:txBody>
      </p:sp>
      <p:sp>
        <p:nvSpPr>
          <p:cNvPr id="198" name="CuadroTexto 197">
            <a:extLst>
              <a:ext uri="{FF2B5EF4-FFF2-40B4-BE49-F238E27FC236}">
                <a16:creationId xmlns:a16="http://schemas.microsoft.com/office/drawing/2014/main" id="{B6D79510-081E-E331-49D6-B54DE1792C72}"/>
              </a:ext>
            </a:extLst>
          </p:cNvPr>
          <p:cNvSpPr txBox="1"/>
          <p:nvPr/>
        </p:nvSpPr>
        <p:spPr>
          <a:xfrm>
            <a:off x="1602970" y="3283590"/>
            <a:ext cx="2096875" cy="646331"/>
          </a:xfrm>
          <a:prstGeom prst="rect">
            <a:avLst/>
          </a:prstGeom>
          <a:noFill/>
        </p:spPr>
        <p:txBody>
          <a:bodyPr wrap="square">
            <a:spAutoFit/>
          </a:bodyPr>
          <a:lstStyle/>
          <a:p>
            <a:pPr marL="171450" indent="-171450" algn="ctr">
              <a:buFont typeface="Arial" panose="020B0604020202020204" pitchFamily="34" charset="0"/>
              <a:buChar char="•"/>
            </a:pPr>
            <a:r>
              <a:rPr lang="en-US" b="1" dirty="0">
                <a:solidFill>
                  <a:srgbClr val="0000CC"/>
                </a:solidFill>
                <a:latin typeface="Arial" panose="020B0604020202020204"/>
              </a:rPr>
              <a:t>M-FP </a:t>
            </a:r>
          </a:p>
          <a:p>
            <a:pPr algn="ctr"/>
            <a:r>
              <a:rPr lang="en-US" dirty="0">
                <a:solidFill>
                  <a:prstClr val="black"/>
                </a:solidFill>
                <a:latin typeface="Arial" panose="020B0604020202020204"/>
              </a:rPr>
              <a:t>Mi Full Potential</a:t>
            </a:r>
          </a:p>
        </p:txBody>
      </p:sp>
      <p:sp>
        <p:nvSpPr>
          <p:cNvPr id="200" name="CuadroTexto 199">
            <a:extLst>
              <a:ext uri="{FF2B5EF4-FFF2-40B4-BE49-F238E27FC236}">
                <a16:creationId xmlns:a16="http://schemas.microsoft.com/office/drawing/2014/main" id="{7674B571-E5D4-A4B2-03FC-A21088CD2785}"/>
              </a:ext>
            </a:extLst>
          </p:cNvPr>
          <p:cNvSpPr txBox="1"/>
          <p:nvPr/>
        </p:nvSpPr>
        <p:spPr>
          <a:xfrm>
            <a:off x="1517325" y="4019001"/>
            <a:ext cx="1890904" cy="646331"/>
          </a:xfrm>
          <a:prstGeom prst="rect">
            <a:avLst/>
          </a:prstGeom>
          <a:noFill/>
        </p:spPr>
        <p:txBody>
          <a:bodyPr wrap="square">
            <a:spAutoFit/>
          </a:bodyPr>
          <a:lstStyle/>
          <a:p>
            <a:pPr marL="171450" indent="-171450" algn="ctr">
              <a:buFont typeface="Arial" panose="020B0604020202020204" pitchFamily="34" charset="0"/>
              <a:buChar char="•"/>
            </a:pPr>
            <a:r>
              <a:rPr lang="en-US" b="1" dirty="0">
                <a:solidFill>
                  <a:srgbClr val="0000CC"/>
                </a:solidFill>
                <a:latin typeface="Arial" panose="020B0604020202020204"/>
              </a:rPr>
              <a:t>MOVE 1.0</a:t>
            </a:r>
          </a:p>
          <a:p>
            <a:pPr algn="ctr"/>
            <a:r>
              <a:rPr lang="en-US" dirty="0">
                <a:solidFill>
                  <a:prstClr val="black"/>
                </a:solidFill>
                <a:latin typeface="Arial" panose="020B0604020202020204"/>
              </a:rPr>
              <a:t>Mi </a:t>
            </a:r>
            <a:r>
              <a:rPr lang="en-US" dirty="0" err="1">
                <a:solidFill>
                  <a:prstClr val="black"/>
                </a:solidFill>
                <a:latin typeface="Arial" panose="020B0604020202020204"/>
              </a:rPr>
              <a:t>Motivacion</a:t>
            </a:r>
            <a:endParaRPr lang="en-US" dirty="0">
              <a:solidFill>
                <a:prstClr val="black"/>
              </a:solidFill>
              <a:latin typeface="Arial" panose="020B0604020202020204"/>
            </a:endParaRPr>
          </a:p>
        </p:txBody>
      </p:sp>
      <p:sp>
        <p:nvSpPr>
          <p:cNvPr id="202" name="CuadroTexto 201">
            <a:extLst>
              <a:ext uri="{FF2B5EF4-FFF2-40B4-BE49-F238E27FC236}">
                <a16:creationId xmlns:a16="http://schemas.microsoft.com/office/drawing/2014/main" id="{ED322CA2-82A4-6ED1-A33E-FD4A82C7E638}"/>
              </a:ext>
            </a:extLst>
          </p:cNvPr>
          <p:cNvSpPr txBox="1"/>
          <p:nvPr/>
        </p:nvSpPr>
        <p:spPr>
          <a:xfrm>
            <a:off x="1108974" y="4724801"/>
            <a:ext cx="1928623" cy="646331"/>
          </a:xfrm>
          <a:prstGeom prst="rect">
            <a:avLst/>
          </a:prstGeom>
          <a:noFill/>
        </p:spPr>
        <p:txBody>
          <a:bodyPr wrap="square">
            <a:spAutoFit/>
          </a:bodyPr>
          <a:lstStyle/>
          <a:p>
            <a:pPr marL="171450" indent="-171450" algn="ctr">
              <a:buFont typeface="Arial" panose="020B0604020202020204" pitchFamily="34" charset="0"/>
              <a:buChar char="•"/>
            </a:pPr>
            <a:r>
              <a:rPr lang="en-US" b="1" dirty="0">
                <a:solidFill>
                  <a:srgbClr val="0000CC"/>
                </a:solidFill>
                <a:latin typeface="Arial" panose="020B0604020202020204"/>
              </a:rPr>
              <a:t>LEAD 3.0</a:t>
            </a:r>
          </a:p>
          <a:p>
            <a:pPr algn="ctr"/>
            <a:r>
              <a:rPr lang="en-US" dirty="0" err="1">
                <a:solidFill>
                  <a:prstClr val="black"/>
                </a:solidFill>
                <a:latin typeface="Arial" panose="020B0604020202020204"/>
              </a:rPr>
              <a:t>Liderazgo</a:t>
            </a:r>
            <a:endParaRPr lang="en-US" dirty="0">
              <a:solidFill>
                <a:prstClr val="black"/>
              </a:solidFill>
              <a:latin typeface="Arial" panose="020B0604020202020204"/>
            </a:endParaRPr>
          </a:p>
        </p:txBody>
      </p:sp>
      <p:sp>
        <p:nvSpPr>
          <p:cNvPr id="204" name="CuadroTexto 203">
            <a:extLst>
              <a:ext uri="{FF2B5EF4-FFF2-40B4-BE49-F238E27FC236}">
                <a16:creationId xmlns:a16="http://schemas.microsoft.com/office/drawing/2014/main" id="{8A824EFB-AC65-210A-0B00-99B2FFB481A8}"/>
              </a:ext>
            </a:extLst>
          </p:cNvPr>
          <p:cNvSpPr txBox="1"/>
          <p:nvPr/>
        </p:nvSpPr>
        <p:spPr>
          <a:xfrm>
            <a:off x="-379635" y="5308948"/>
            <a:ext cx="2411484" cy="646331"/>
          </a:xfrm>
          <a:prstGeom prst="rect">
            <a:avLst/>
          </a:prstGeom>
          <a:noFill/>
        </p:spPr>
        <p:txBody>
          <a:bodyPr wrap="square">
            <a:spAutoFit/>
          </a:bodyPr>
          <a:lstStyle/>
          <a:p>
            <a:pPr marL="171450" indent="-171450" algn="ctr">
              <a:buFont typeface="Arial" panose="020B0604020202020204" pitchFamily="34" charset="0"/>
              <a:buChar char="•"/>
            </a:pPr>
            <a:r>
              <a:rPr lang="en-US" b="1" dirty="0">
                <a:solidFill>
                  <a:srgbClr val="0000CC"/>
                </a:solidFill>
                <a:latin typeface="Arial" panose="020B0604020202020204"/>
              </a:rPr>
              <a:t>MIND-1.0</a:t>
            </a:r>
          </a:p>
          <a:p>
            <a:pPr algn="ctr"/>
            <a:r>
              <a:rPr lang="en-US" dirty="0" err="1">
                <a:solidFill>
                  <a:prstClr val="black"/>
                </a:solidFill>
                <a:latin typeface="Arial" panose="020B0604020202020204"/>
              </a:rPr>
              <a:t>Neutociencia</a:t>
            </a:r>
            <a:endParaRPr lang="en-US" dirty="0">
              <a:solidFill>
                <a:prstClr val="black"/>
              </a:solidFill>
              <a:latin typeface="Arial" panose="020B0604020202020204"/>
            </a:endParaRPr>
          </a:p>
        </p:txBody>
      </p:sp>
      <p:sp>
        <p:nvSpPr>
          <p:cNvPr id="205" name="CuadroTexto 204">
            <a:extLst>
              <a:ext uri="{FF2B5EF4-FFF2-40B4-BE49-F238E27FC236}">
                <a16:creationId xmlns:a16="http://schemas.microsoft.com/office/drawing/2014/main" id="{8779E53B-1BC6-D772-77DE-DFC5D696BCBD}"/>
              </a:ext>
            </a:extLst>
          </p:cNvPr>
          <p:cNvSpPr txBox="1"/>
          <p:nvPr/>
        </p:nvSpPr>
        <p:spPr>
          <a:xfrm>
            <a:off x="-98509" y="1938493"/>
            <a:ext cx="2130358" cy="646331"/>
          </a:xfrm>
          <a:prstGeom prst="rect">
            <a:avLst/>
          </a:prstGeom>
          <a:noFill/>
        </p:spPr>
        <p:txBody>
          <a:bodyPr wrap="square">
            <a:spAutoFit/>
          </a:bodyPr>
          <a:lstStyle/>
          <a:p>
            <a:pPr marL="285750" indent="-285750" algn="ctr">
              <a:buFont typeface="Arial" panose="020B0604020202020204" pitchFamily="34" charset="0"/>
              <a:buChar char="•"/>
            </a:pPr>
            <a:r>
              <a:rPr lang="en-US" b="1" dirty="0">
                <a:solidFill>
                  <a:srgbClr val="0000CC"/>
                </a:solidFill>
                <a:latin typeface="Arial" panose="020B0604020202020204"/>
              </a:rPr>
              <a:t>ENEAGRAMA </a:t>
            </a:r>
          </a:p>
          <a:p>
            <a:pPr algn="ctr"/>
            <a:r>
              <a:rPr lang="en-US" dirty="0">
                <a:solidFill>
                  <a:prstClr val="black"/>
                </a:solidFill>
                <a:latin typeface="Arial" panose="020B0604020202020204"/>
              </a:rPr>
              <a:t>Ser </a:t>
            </a:r>
            <a:r>
              <a:rPr lang="en-US" dirty="0" err="1">
                <a:solidFill>
                  <a:prstClr val="black"/>
                </a:solidFill>
                <a:latin typeface="Arial" panose="020B0604020202020204"/>
              </a:rPr>
              <a:t>conciente</a:t>
            </a:r>
            <a:endParaRPr lang="en-US" dirty="0">
              <a:solidFill>
                <a:prstClr val="black"/>
              </a:solidFill>
              <a:latin typeface="Arial" panose="020B0604020202020204"/>
            </a:endParaRPr>
          </a:p>
        </p:txBody>
      </p:sp>
      <p:sp>
        <p:nvSpPr>
          <p:cNvPr id="2" name="CuadroTexto 1">
            <a:extLst>
              <a:ext uri="{FF2B5EF4-FFF2-40B4-BE49-F238E27FC236}">
                <a16:creationId xmlns:a16="http://schemas.microsoft.com/office/drawing/2014/main" id="{668C637A-21F4-3A6E-0040-13118C87651E}"/>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5" name="CuadroTexto 4">
            <a:extLst>
              <a:ext uri="{FF2B5EF4-FFF2-40B4-BE49-F238E27FC236}">
                <a16:creationId xmlns:a16="http://schemas.microsoft.com/office/drawing/2014/main" id="{2389F8FD-CB3F-8E9C-D511-1A425D323873}"/>
              </a:ext>
            </a:extLst>
          </p:cNvPr>
          <p:cNvSpPr txBox="1"/>
          <p:nvPr/>
        </p:nvSpPr>
        <p:spPr>
          <a:xfrm>
            <a:off x="-187891" y="6289202"/>
            <a:ext cx="2517731" cy="3139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600" b="0" i="1" u="none" strike="noStrike" kern="1200" cap="none" spc="0" normalizeH="0" baseline="0" noProof="0" dirty="0">
                <a:ln>
                  <a:noFill/>
                </a:ln>
                <a:solidFill>
                  <a:srgbClr val="FFFFFF"/>
                </a:solidFill>
                <a:effectLst/>
                <a:uLnTx/>
                <a:uFillTx/>
                <a:latin typeface="Candara"/>
                <a:ea typeface="+mn-ea"/>
                <a:cs typeface="+mn-cs"/>
              </a:rPr>
              <a:t>A la Connie Clark </a:t>
            </a:r>
          </a:p>
        </p:txBody>
      </p:sp>
    </p:spTree>
    <p:extLst>
      <p:ext uri="{BB962C8B-B14F-4D97-AF65-F5344CB8AC3E}">
        <p14:creationId xmlns:p14="http://schemas.microsoft.com/office/powerpoint/2010/main" val="1305518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fade">
                                      <p:cBhvr>
                                        <p:cTn id="7"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ítulo 3">
            <a:extLst>
              <a:ext uri="{FF2B5EF4-FFF2-40B4-BE49-F238E27FC236}">
                <a16:creationId xmlns:a16="http://schemas.microsoft.com/office/drawing/2014/main" id="{12B1270C-F633-9796-D54A-4B18D5CA9451}"/>
              </a:ext>
            </a:extLst>
          </p:cNvPr>
          <p:cNvSpPr txBox="1">
            <a:spLocks/>
          </p:cNvSpPr>
          <p:nvPr/>
        </p:nvSpPr>
        <p:spPr>
          <a:xfrm>
            <a:off x="0" y="6276108"/>
            <a:ext cx="12192000" cy="581891"/>
          </a:xfrm>
          <a:prstGeom prst="rect">
            <a:avLst/>
          </a:prstGeom>
          <a:solidFill>
            <a:srgbClr val="0000CC">
              <a:alpha val="80000"/>
            </a:srgbClr>
          </a:solidFill>
        </p:spPr>
        <p:txBody>
          <a:bodyPr vert="horz" lIns="180000" tIns="180000" rIns="180000" bIns="180000" rtlCol="0">
            <a:noAutofit/>
          </a:bodyPr>
          <a:lstStyle>
            <a:lvl1pPr marL="0" indent="0" algn="r" defTabSz="914400" rtl="0" eaLnBrk="1" latinLnBrk="0" hangingPunct="1">
              <a:lnSpc>
                <a:spcPct val="90000"/>
              </a:lnSpc>
              <a:spcBef>
                <a:spcPts val="1000"/>
              </a:spcBef>
              <a:buFont typeface="Arial" panose="020B0604020202020204" pitchFamily="34" charset="0"/>
              <a:buNone/>
              <a:defRPr lang="en-ZA" sz="1800" kern="1200" dirty="0">
                <a:solidFill>
                  <a:schemeClr val="bg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1600" b="0" i="1" u="none" strike="noStrike" kern="1200" cap="none" spc="0" normalizeH="0" baseline="0" noProof="0" dirty="0">
              <a:ln>
                <a:noFill/>
              </a:ln>
              <a:solidFill>
                <a:srgbClr val="FFFFFF"/>
              </a:solidFill>
              <a:effectLst/>
              <a:uLnTx/>
              <a:uFillTx/>
              <a:latin typeface="Candara"/>
              <a:ea typeface="+mn-ea"/>
              <a:cs typeface="+mn-cs"/>
            </a:endParaRPr>
          </a:p>
        </p:txBody>
      </p:sp>
      <p:sp>
        <p:nvSpPr>
          <p:cNvPr id="176" name="CaixaDeTexto 1">
            <a:extLst>
              <a:ext uri="{FF2B5EF4-FFF2-40B4-BE49-F238E27FC236}">
                <a16:creationId xmlns:a16="http://schemas.microsoft.com/office/drawing/2014/main" id="{7904F9E7-6A77-80B1-9CDB-2717F95B7975}"/>
              </a:ext>
            </a:extLst>
          </p:cNvPr>
          <p:cNvSpPr txBox="1"/>
          <p:nvPr/>
        </p:nvSpPr>
        <p:spPr>
          <a:xfrm>
            <a:off x="72023" y="48625"/>
            <a:ext cx="12695488" cy="646331"/>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4000" b="1" i="0" u="none" strike="noStrike" kern="1200" cap="none" spc="0" normalizeH="0" baseline="0" noProof="0" dirty="0">
                <a:ln>
                  <a:noFill/>
                </a:ln>
                <a:solidFill>
                  <a:srgbClr val="10069F"/>
                </a:solidFill>
                <a:effectLst/>
                <a:uLnTx/>
                <a:uFillTx/>
                <a:latin typeface="Arial" panose="020B0604020202020204"/>
                <a:ea typeface="+mn-ea"/>
                <a:cs typeface="+mn-cs"/>
              </a:rPr>
              <a:t>Modelo MOVE</a:t>
            </a:r>
            <a:endPar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endParaRPr>
          </a:p>
        </p:txBody>
      </p:sp>
      <p:sp>
        <p:nvSpPr>
          <p:cNvPr id="28" name="Title 2">
            <a:extLst>
              <a:ext uri="{FF2B5EF4-FFF2-40B4-BE49-F238E27FC236}">
                <a16:creationId xmlns:a16="http://schemas.microsoft.com/office/drawing/2014/main" id="{2E6D0D01-6A0F-C209-2507-315A7F45EFD9}"/>
              </a:ext>
            </a:extLst>
          </p:cNvPr>
          <p:cNvSpPr txBox="1">
            <a:spLocks/>
          </p:cNvSpPr>
          <p:nvPr/>
        </p:nvSpPr>
        <p:spPr>
          <a:xfrm>
            <a:off x="135679" y="833363"/>
            <a:ext cx="11986154" cy="798976"/>
          </a:xfrm>
          <a:prstGeom prst="rect">
            <a:avLst/>
          </a:prstGeom>
        </p:spPr>
        <p:txBody>
          <a:bodyPr vert="horz" lIns="91440" tIns="45720" rIns="91440" bIns="45720" rtlCol="0" anchor="t">
            <a:normAutofit fontScale="97500" lnSpcReduction="10000"/>
          </a:bodyPr>
          <a:lstStyle>
            <a:lvl1pPr algn="l" defTabSz="914400" rtl="0" eaLnBrk="1" latinLnBrk="0" hangingPunct="1">
              <a:lnSpc>
                <a:spcPct val="90000"/>
              </a:lnSpc>
              <a:spcBef>
                <a:spcPct val="0"/>
              </a:spcBef>
              <a:buNone/>
              <a:defRPr sz="3200" b="1" i="0" kern="1200">
                <a:solidFill>
                  <a:srgbClr val="10069F"/>
                </a:solidFill>
                <a:latin typeface="+mj-lt"/>
                <a:ea typeface="Arial Black" panose="020B060402020202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3200" b="1" i="0" u="none" strike="noStrike" kern="1200" cap="none" spc="-300" normalizeH="0" baseline="0" noProof="0" dirty="0" err="1">
                <a:ln>
                  <a:noFill/>
                </a:ln>
                <a:solidFill>
                  <a:srgbClr val="0000CC"/>
                </a:solidFill>
                <a:effectLst/>
                <a:uLnTx/>
                <a:uFillTx/>
                <a:latin typeface="Corbel"/>
                <a:ea typeface="+mn-ea"/>
                <a:cs typeface="+mn-cs"/>
              </a:rPr>
              <a:t>My</a:t>
            </a:r>
            <a:r>
              <a:rPr kumimoji="0" lang="es-ES" sz="3200" b="1" i="0" u="none" strike="noStrike" kern="1200" cap="none" spc="-300" normalizeH="0" baseline="0" noProof="0" dirty="0">
                <a:ln>
                  <a:noFill/>
                </a:ln>
                <a:solidFill>
                  <a:srgbClr val="0000CC"/>
                </a:solidFill>
                <a:effectLst/>
                <a:uLnTx/>
                <a:uFillTx/>
                <a:latin typeface="Corbel"/>
                <a:ea typeface="+mn-ea"/>
                <a:cs typeface="+mn-cs"/>
              </a:rPr>
              <a:t> </a:t>
            </a:r>
            <a:r>
              <a:rPr kumimoji="0" lang="es-ES" sz="3200" b="1" i="0" u="none" strike="noStrike" kern="1200" cap="none" spc="-300" normalizeH="0" baseline="0" noProof="0" dirty="0" err="1">
                <a:ln>
                  <a:noFill/>
                </a:ln>
                <a:solidFill>
                  <a:srgbClr val="0000CC"/>
                </a:solidFill>
                <a:effectLst/>
                <a:uLnTx/>
                <a:uFillTx/>
                <a:latin typeface="Corbel"/>
                <a:ea typeface="+mn-ea"/>
                <a:cs typeface="+mn-cs"/>
              </a:rPr>
              <a:t>Motivations</a:t>
            </a:r>
            <a:br>
              <a:rPr kumimoji="0" lang="en-US" sz="2200" b="1" i="0" u="none" strike="noStrike" kern="1200" cap="none" spc="0" normalizeH="0" baseline="0" noProof="0" dirty="0">
                <a:ln>
                  <a:noFill/>
                </a:ln>
                <a:solidFill>
                  <a:srgbClr val="10069F"/>
                </a:solidFill>
                <a:effectLst/>
                <a:uLnTx/>
                <a:uFillTx/>
                <a:latin typeface="Arial" panose="020B0604020202020204"/>
              </a:rPr>
            </a:br>
            <a:r>
              <a:rPr kumimoji="0" lang="en-US" sz="2200" b="1" i="0" u="none" strike="noStrike" kern="1200" cap="none" spc="0" normalizeH="0" baseline="0" noProof="0" dirty="0">
                <a:ln>
                  <a:noFill/>
                </a:ln>
                <a:solidFill>
                  <a:srgbClr val="10069F"/>
                </a:solidFill>
                <a:effectLst/>
                <a:uLnTx/>
                <a:uFillTx/>
                <a:latin typeface="Arial" panose="020B0604020202020204"/>
              </a:rPr>
              <a:t> </a:t>
            </a:r>
          </a:p>
        </p:txBody>
      </p:sp>
      <p:sp>
        <p:nvSpPr>
          <p:cNvPr id="2" name="CaixaDeTexto 10309">
            <a:extLst>
              <a:ext uri="{FF2B5EF4-FFF2-40B4-BE49-F238E27FC236}">
                <a16:creationId xmlns:a16="http://schemas.microsoft.com/office/drawing/2014/main" id="{3308592F-6DE8-4DAE-C115-7369990D7557}"/>
              </a:ext>
            </a:extLst>
          </p:cNvPr>
          <p:cNvSpPr txBox="1"/>
          <p:nvPr/>
        </p:nvSpPr>
        <p:spPr>
          <a:xfrm>
            <a:off x="3934177" y="1500322"/>
            <a:ext cx="2561038" cy="4524315"/>
          </a:xfrm>
          <a:prstGeom prst="rect">
            <a:avLst/>
          </a:prstGeom>
          <a:noFill/>
        </p:spPr>
        <p:txBody>
          <a:bodyPr wrap="square" rtlCol="0">
            <a:spAutoFit/>
          </a:bodyPr>
          <a:lstStyle/>
          <a:p>
            <a:pPr marL="171450" indent="-171450">
              <a:buFont typeface="Arial" panose="020B0604020202020204" pitchFamily="34" charset="0"/>
              <a:buChar char="•"/>
            </a:pPr>
            <a:r>
              <a:rPr lang="en-US" b="1" dirty="0">
                <a:solidFill>
                  <a:srgbClr val="0000CC"/>
                </a:solidFill>
                <a:latin typeface="Arial" panose="020B0604020202020204"/>
              </a:rPr>
              <a:t>LIFE: </a:t>
            </a:r>
          </a:p>
          <a:p>
            <a:r>
              <a:rPr lang="en-US" dirty="0">
                <a:solidFill>
                  <a:prstClr val="black"/>
                </a:solidFill>
                <a:latin typeface="Arial" panose="020B0604020202020204"/>
              </a:rPr>
              <a:t>Mi </a:t>
            </a:r>
            <a:r>
              <a:rPr lang="en-US" dirty="0" err="1">
                <a:solidFill>
                  <a:prstClr val="black"/>
                </a:solidFill>
                <a:latin typeface="Arial" panose="020B0604020202020204"/>
              </a:rPr>
              <a:t>Proposito</a:t>
            </a:r>
            <a:endParaRPr lang="en-US" dirty="0">
              <a:solidFill>
                <a:prstClr val="black"/>
              </a:solidFill>
              <a:latin typeface="Arial" panose="020B0604020202020204"/>
            </a:endParaRPr>
          </a:p>
          <a:p>
            <a:pPr marL="171450" indent="-171450">
              <a:buFont typeface="Arial" panose="020B0604020202020204" pitchFamily="34" charset="0"/>
              <a:buChar char="•"/>
            </a:pPr>
            <a:endParaRPr lang="en-US" dirty="0">
              <a:solidFill>
                <a:prstClr val="black"/>
              </a:solidFill>
              <a:latin typeface="Arial" panose="020B0604020202020204"/>
            </a:endParaRPr>
          </a:p>
          <a:p>
            <a:pPr marL="171450" indent="-171450">
              <a:buFont typeface="Arial" panose="020B0604020202020204" pitchFamily="34" charset="0"/>
              <a:buChar char="•"/>
            </a:pPr>
            <a:r>
              <a:rPr lang="en-US" b="1" dirty="0">
                <a:solidFill>
                  <a:srgbClr val="0000CC"/>
                </a:solidFill>
                <a:latin typeface="Arial" panose="020B0604020202020204"/>
              </a:rPr>
              <a:t>M-FP: </a:t>
            </a:r>
          </a:p>
          <a:p>
            <a:r>
              <a:rPr lang="en-US" dirty="0">
                <a:solidFill>
                  <a:prstClr val="black"/>
                </a:solidFill>
                <a:latin typeface="Arial" panose="020B0604020202020204"/>
              </a:rPr>
              <a:t>Mi Full Potential</a:t>
            </a:r>
          </a:p>
          <a:p>
            <a:pPr marL="171450" indent="-171450">
              <a:buFont typeface="Arial" panose="020B0604020202020204" pitchFamily="34" charset="0"/>
              <a:buChar char="•"/>
            </a:pPr>
            <a:endParaRPr lang="en-US" dirty="0">
              <a:solidFill>
                <a:prstClr val="black"/>
              </a:solidFill>
              <a:latin typeface="Arial" panose="020B0604020202020204"/>
            </a:endParaRPr>
          </a:p>
          <a:p>
            <a:pPr marL="171450" indent="-171450">
              <a:buFont typeface="Arial" panose="020B0604020202020204" pitchFamily="34" charset="0"/>
              <a:buChar char="•"/>
            </a:pPr>
            <a:r>
              <a:rPr lang="en-US" b="1" dirty="0">
                <a:solidFill>
                  <a:srgbClr val="0000CC"/>
                </a:solidFill>
                <a:latin typeface="Arial" panose="020B0604020202020204"/>
              </a:rPr>
              <a:t>MOVE:</a:t>
            </a:r>
          </a:p>
          <a:p>
            <a:r>
              <a:rPr lang="en-US" dirty="0">
                <a:solidFill>
                  <a:prstClr val="black"/>
                </a:solidFill>
                <a:latin typeface="Arial" panose="020B0604020202020204"/>
              </a:rPr>
              <a:t>Mi </a:t>
            </a:r>
            <a:r>
              <a:rPr lang="en-US" dirty="0" err="1">
                <a:solidFill>
                  <a:prstClr val="black"/>
                </a:solidFill>
                <a:latin typeface="Arial" panose="020B0604020202020204"/>
              </a:rPr>
              <a:t>Motivacion</a:t>
            </a:r>
            <a:endParaRPr lang="en-US" dirty="0">
              <a:solidFill>
                <a:prstClr val="black"/>
              </a:solidFill>
              <a:latin typeface="Arial" panose="020B0604020202020204"/>
            </a:endParaRPr>
          </a:p>
          <a:p>
            <a:pPr marL="171450" indent="-171450">
              <a:buFont typeface="Arial" panose="020B0604020202020204" pitchFamily="34" charset="0"/>
              <a:buChar char="•"/>
            </a:pPr>
            <a:endParaRPr lang="en-US" dirty="0">
              <a:solidFill>
                <a:prstClr val="black"/>
              </a:solidFill>
              <a:latin typeface="Arial" panose="020B0604020202020204"/>
            </a:endParaRPr>
          </a:p>
          <a:p>
            <a:pPr marL="171450" indent="-171450">
              <a:buFont typeface="Arial" panose="020B0604020202020204" pitchFamily="34" charset="0"/>
              <a:buChar char="•"/>
            </a:pPr>
            <a:r>
              <a:rPr lang="en-US" b="1" dirty="0">
                <a:solidFill>
                  <a:srgbClr val="0000CC"/>
                </a:solidFill>
                <a:latin typeface="Arial" panose="020B0604020202020204"/>
              </a:rPr>
              <a:t>LEAD.03</a:t>
            </a:r>
          </a:p>
          <a:p>
            <a:r>
              <a:rPr lang="en-US" dirty="0" err="1">
                <a:solidFill>
                  <a:prstClr val="black"/>
                </a:solidFill>
                <a:latin typeface="Arial" panose="020B0604020202020204"/>
              </a:rPr>
              <a:t>Liderazgo</a:t>
            </a:r>
            <a:endParaRPr lang="en-US" dirty="0">
              <a:solidFill>
                <a:prstClr val="black"/>
              </a:solidFill>
              <a:latin typeface="Arial" panose="020B0604020202020204"/>
            </a:endParaRPr>
          </a:p>
          <a:p>
            <a:endParaRPr lang="en-US" dirty="0">
              <a:solidFill>
                <a:prstClr val="black"/>
              </a:solidFill>
              <a:latin typeface="Arial" panose="020B0604020202020204"/>
            </a:endParaRPr>
          </a:p>
          <a:p>
            <a:pPr marL="171450" indent="-171450">
              <a:buFont typeface="Arial" panose="020B0604020202020204" pitchFamily="34" charset="0"/>
              <a:buChar char="•"/>
            </a:pPr>
            <a:r>
              <a:rPr lang="en-US" b="1" dirty="0">
                <a:solidFill>
                  <a:srgbClr val="0000CC"/>
                </a:solidFill>
                <a:latin typeface="Arial" panose="020B0604020202020204"/>
              </a:rPr>
              <a:t>MIND-10:</a:t>
            </a:r>
          </a:p>
          <a:p>
            <a:r>
              <a:rPr lang="en-US" dirty="0" err="1">
                <a:solidFill>
                  <a:prstClr val="black"/>
                </a:solidFill>
                <a:latin typeface="Arial" panose="020B0604020202020204"/>
              </a:rPr>
              <a:t>Neutociencia</a:t>
            </a:r>
            <a:endParaRPr lang="en-US" dirty="0">
              <a:solidFill>
                <a:prstClr val="black"/>
              </a:solidFill>
              <a:latin typeface="Arial" panose="020B0604020202020204"/>
            </a:endParaRPr>
          </a:p>
          <a:p>
            <a:pPr marL="171450" indent="-171450">
              <a:buFont typeface="Arial" panose="020B0604020202020204" pitchFamily="34" charset="0"/>
              <a:buChar char="•"/>
            </a:pPr>
            <a:endParaRPr lang="en-US" sz="1200" dirty="0">
              <a:solidFill>
                <a:prstClr val="black"/>
              </a:solidFill>
              <a:latin typeface="Arial" panose="020B0604020202020204"/>
            </a:endParaRPr>
          </a:p>
          <a:p>
            <a:pPr marL="171450" indent="-171450">
              <a:buFont typeface="Arial" panose="020B0604020202020204" pitchFamily="34" charset="0"/>
              <a:buChar char="•"/>
            </a:pPr>
            <a:endParaRPr lang="en-US" sz="1200" dirty="0">
              <a:solidFill>
                <a:prstClr val="black"/>
              </a:solidFill>
              <a:latin typeface="Arial" panose="020B0604020202020204"/>
            </a:endParaRPr>
          </a:p>
          <a:p>
            <a:pPr marL="171450" indent="-171450">
              <a:buFont typeface="Arial" panose="020B0604020202020204" pitchFamily="34" charset="0"/>
              <a:buChar char="•"/>
            </a:pPr>
            <a:endParaRPr lang="en-US" sz="1200" dirty="0">
              <a:solidFill>
                <a:prstClr val="black"/>
              </a:solidFill>
              <a:latin typeface="Arial" panose="020B0604020202020204"/>
            </a:endParaRPr>
          </a:p>
        </p:txBody>
      </p:sp>
      <p:sp>
        <p:nvSpPr>
          <p:cNvPr id="5" name="Elipse 4">
            <a:extLst>
              <a:ext uri="{FF2B5EF4-FFF2-40B4-BE49-F238E27FC236}">
                <a16:creationId xmlns:a16="http://schemas.microsoft.com/office/drawing/2014/main" id="{4AFF9318-471D-872E-A542-D29ABCB78A3A}"/>
              </a:ext>
            </a:extLst>
          </p:cNvPr>
          <p:cNvSpPr/>
          <p:nvPr/>
        </p:nvSpPr>
        <p:spPr>
          <a:xfrm>
            <a:off x="8091883" y="371790"/>
            <a:ext cx="3342831" cy="3101661"/>
          </a:xfrm>
          <a:prstGeom prst="ellipse">
            <a:avLst/>
          </a:prstGeom>
          <a:blipFill rotWithShape="1">
            <a:blip r:embed="rId2" cstate="screen">
              <a:extLst>
                <a:ext uri="{28A0092B-C50C-407E-A947-70E740481C1C}">
                  <a14:useLocalDpi xmlns:a14="http://schemas.microsoft.com/office/drawing/2010/main"/>
                </a:ext>
              </a:extLst>
            </a:blip>
            <a:srcRect/>
            <a:stretch>
              <a:fillRect l="-27000" r="-27000"/>
            </a:stretch>
          </a:blipFill>
          <a:ln>
            <a:solidFill>
              <a:srgbClr val="0000CC"/>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pic>
        <p:nvPicPr>
          <p:cNvPr id="6" name="Imagen 5">
            <a:extLst>
              <a:ext uri="{FF2B5EF4-FFF2-40B4-BE49-F238E27FC236}">
                <a16:creationId xmlns:a16="http://schemas.microsoft.com/office/drawing/2014/main" id="{D0B649CB-503D-C4BE-652D-B9647992CF3A}"/>
              </a:ext>
            </a:extLst>
          </p:cNvPr>
          <p:cNvPicPr>
            <a:picLocks noChangeAspect="1"/>
          </p:cNvPicPr>
          <p:nvPr/>
        </p:nvPicPr>
        <p:blipFill>
          <a:blip r:embed="rId3"/>
          <a:stretch>
            <a:fillRect/>
          </a:stretch>
        </p:blipFill>
        <p:spPr>
          <a:xfrm>
            <a:off x="6815726" y="3904859"/>
            <a:ext cx="4907838" cy="2119778"/>
          </a:xfrm>
          <a:prstGeom prst="rect">
            <a:avLst/>
          </a:prstGeom>
        </p:spPr>
      </p:pic>
      <p:sp>
        <p:nvSpPr>
          <p:cNvPr id="7" name="CuadroTexto 6">
            <a:extLst>
              <a:ext uri="{FF2B5EF4-FFF2-40B4-BE49-F238E27FC236}">
                <a16:creationId xmlns:a16="http://schemas.microsoft.com/office/drawing/2014/main" id="{91350581-9F7F-C103-C17C-62D7616AEAE7}"/>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8" name="CuadroTexto 7">
            <a:extLst>
              <a:ext uri="{FF2B5EF4-FFF2-40B4-BE49-F238E27FC236}">
                <a16:creationId xmlns:a16="http://schemas.microsoft.com/office/drawing/2014/main" id="{B0CB3D92-E0B8-1720-986A-E144F03EB25D}"/>
              </a:ext>
            </a:extLst>
          </p:cNvPr>
          <p:cNvSpPr txBox="1"/>
          <p:nvPr/>
        </p:nvSpPr>
        <p:spPr>
          <a:xfrm>
            <a:off x="-187891" y="6289202"/>
            <a:ext cx="2517731" cy="3139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600" b="0" i="1" u="none" strike="noStrike" kern="1200" cap="none" spc="0" normalizeH="0" baseline="0" noProof="0" dirty="0">
                <a:ln>
                  <a:noFill/>
                </a:ln>
                <a:solidFill>
                  <a:srgbClr val="FFFFFF"/>
                </a:solidFill>
                <a:effectLst/>
                <a:uLnTx/>
                <a:uFillTx/>
                <a:latin typeface="Candara"/>
                <a:ea typeface="+mn-ea"/>
                <a:cs typeface="+mn-cs"/>
              </a:rPr>
              <a:t>A la Connie Clark </a:t>
            </a:r>
          </a:p>
        </p:txBody>
      </p:sp>
    </p:spTree>
    <p:extLst>
      <p:ext uri="{BB962C8B-B14F-4D97-AF65-F5344CB8AC3E}">
        <p14:creationId xmlns:p14="http://schemas.microsoft.com/office/powerpoint/2010/main" val="41125998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EFFA606A-F1B9-C654-8418-8BF5C56CF0F4}"/>
              </a:ext>
            </a:extLst>
          </p:cNvPr>
          <p:cNvSpPr txBox="1"/>
          <p:nvPr/>
        </p:nvSpPr>
        <p:spPr>
          <a:xfrm>
            <a:off x="145680" y="1999475"/>
            <a:ext cx="8322839" cy="3508653"/>
          </a:xfrm>
          <a:prstGeom prst="rect">
            <a:avLst/>
          </a:prstGeom>
          <a:noFill/>
        </p:spPr>
        <p:txBody>
          <a:bodyPr wrap="square">
            <a:spAutoFit/>
          </a:bodyPr>
          <a:lstStyle/>
          <a:p>
            <a:r>
              <a:rPr lang="es-ES" sz="2000" dirty="0"/>
              <a:t>El Eneagrama es una herramienta psicológica utilizada con la finalidad de conocer la psique humana. Permite el autoconocimiento, entender las motivaciones, comportamientos y patrones emocionales con el fin de desarrollar al máximo el potencial humano y el Desarrollo Organizacional.</a:t>
            </a:r>
            <a:endParaRPr lang="es-ES" dirty="0"/>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endParaRPr lang="es-ES" dirty="0"/>
          </a:p>
          <a:p>
            <a:br>
              <a:rPr lang="es-ES" dirty="0"/>
            </a:br>
            <a:endParaRPr lang="es-ES" dirty="0"/>
          </a:p>
          <a:p>
            <a:r>
              <a:rPr lang="es-ES" dirty="0"/>
              <a:t> </a:t>
            </a:r>
            <a:endParaRPr lang="es-AR" dirty="0"/>
          </a:p>
        </p:txBody>
      </p:sp>
      <p:cxnSp>
        <p:nvCxnSpPr>
          <p:cNvPr id="7" name="Conector recto 6">
            <a:extLst>
              <a:ext uri="{FF2B5EF4-FFF2-40B4-BE49-F238E27FC236}">
                <a16:creationId xmlns:a16="http://schemas.microsoft.com/office/drawing/2014/main" id="{85D1103F-6D11-B879-0659-00B1A64C52F1}"/>
              </a:ext>
            </a:extLst>
          </p:cNvPr>
          <p:cNvCxnSpPr>
            <a:cxnSpLocks/>
          </p:cNvCxnSpPr>
          <p:nvPr/>
        </p:nvCxnSpPr>
        <p:spPr>
          <a:xfrm>
            <a:off x="0" y="1449831"/>
            <a:ext cx="7173798" cy="0"/>
          </a:xfrm>
          <a:prstGeom prst="line">
            <a:avLst/>
          </a:prstGeom>
          <a:ln w="28575">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26362CCB-3D61-6D87-535C-BBA0B0C11BCA}"/>
              </a:ext>
            </a:extLst>
          </p:cNvPr>
          <p:cNvCxnSpPr>
            <a:cxnSpLocks/>
          </p:cNvCxnSpPr>
          <p:nvPr/>
        </p:nvCxnSpPr>
        <p:spPr>
          <a:xfrm>
            <a:off x="0" y="1536243"/>
            <a:ext cx="7334054" cy="0"/>
          </a:xfrm>
          <a:prstGeom prst="line">
            <a:avLst/>
          </a:prstGeom>
          <a:ln w="28575">
            <a:solidFill>
              <a:srgbClr val="0000CC"/>
            </a:solidFill>
          </a:ln>
        </p:spPr>
        <p:style>
          <a:lnRef idx="1">
            <a:schemeClr val="accent1"/>
          </a:lnRef>
          <a:fillRef idx="0">
            <a:schemeClr val="accent1"/>
          </a:fillRef>
          <a:effectRef idx="0">
            <a:schemeClr val="accent1"/>
          </a:effectRef>
          <a:fontRef idx="minor">
            <a:schemeClr val="tx1"/>
          </a:fontRef>
        </p:style>
      </p:cxnSp>
      <p:grpSp>
        <p:nvGrpSpPr>
          <p:cNvPr id="12" name="Grupo 11" descr="Cómo usar esta plantilla&#10;">
            <a:extLst>
              <a:ext uri="{FF2B5EF4-FFF2-40B4-BE49-F238E27FC236}">
                <a16:creationId xmlns:a16="http://schemas.microsoft.com/office/drawing/2014/main" id="{27980886-393E-E544-AFA0-98EFD967587F}"/>
              </a:ext>
            </a:extLst>
          </p:cNvPr>
          <p:cNvGrpSpPr/>
          <p:nvPr/>
        </p:nvGrpSpPr>
        <p:grpSpPr>
          <a:xfrm>
            <a:off x="9144000" y="148573"/>
            <a:ext cx="2800994" cy="2602516"/>
            <a:chOff x="1341135" y="527364"/>
            <a:chExt cx="3002130" cy="3083313"/>
          </a:xfrm>
        </p:grpSpPr>
        <p:sp>
          <p:nvSpPr>
            <p:cNvPr id="13" name="Elipse 12" title="Gráficos circulares en segundo plano">
              <a:extLst>
                <a:ext uri="{FF2B5EF4-FFF2-40B4-BE49-F238E27FC236}">
                  <a16:creationId xmlns:a16="http://schemas.microsoft.com/office/drawing/2014/main" id="{6453CB8F-D437-AB31-1471-1B424513D2BD}"/>
                </a:ext>
              </a:extLst>
            </p:cNvPr>
            <p:cNvSpPr/>
            <p:nvPr/>
          </p:nvSpPr>
          <p:spPr>
            <a:xfrm>
              <a:off x="1341135" y="814260"/>
              <a:ext cx="2796417" cy="279641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ts val="3000"/>
                </a:lnSpc>
              </a:pPr>
              <a:r>
                <a:rPr lang="es-ES" sz="2400" b="1" dirty="0"/>
                <a:t>Cual</a:t>
              </a:r>
              <a:endParaRPr lang="es-ES" sz="2400" dirty="0"/>
            </a:p>
            <a:p>
              <a:pPr algn="ctr" rtl="0">
                <a:lnSpc>
                  <a:spcPts val="3000"/>
                </a:lnSpc>
              </a:pPr>
              <a:r>
                <a:rPr lang="es-ES" sz="2400" i="1" dirty="0"/>
                <a:t>Es mi propósito en esta vida</a:t>
              </a:r>
              <a:endParaRPr lang="es-ES" sz="2400" dirty="0"/>
            </a:p>
          </p:txBody>
        </p:sp>
        <p:sp>
          <p:nvSpPr>
            <p:cNvPr id="14" name="Elipse 13" title="Gráficos circulares en segundo plano">
              <a:extLst>
                <a:ext uri="{FF2B5EF4-FFF2-40B4-BE49-F238E27FC236}">
                  <a16:creationId xmlns:a16="http://schemas.microsoft.com/office/drawing/2014/main" id="{0709AF6B-D385-4757-BB83-642F5F4F8AAA}"/>
                </a:ext>
              </a:extLst>
            </p:cNvPr>
            <p:cNvSpPr/>
            <p:nvPr/>
          </p:nvSpPr>
          <p:spPr>
            <a:xfrm>
              <a:off x="3125525" y="527364"/>
              <a:ext cx="1217740" cy="1217739"/>
            </a:xfrm>
            <a:prstGeom prst="ellips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
            </a:p>
          </p:txBody>
        </p:sp>
        <p:sp>
          <p:nvSpPr>
            <p:cNvPr id="15" name="Elipse 14" title="Gráficos circulares en segundo plano">
              <a:extLst>
                <a:ext uri="{FF2B5EF4-FFF2-40B4-BE49-F238E27FC236}">
                  <a16:creationId xmlns:a16="http://schemas.microsoft.com/office/drawing/2014/main" id="{E8113205-EF7A-839E-C651-68256AB371F6}"/>
                </a:ext>
              </a:extLst>
            </p:cNvPr>
            <p:cNvSpPr/>
            <p:nvPr/>
          </p:nvSpPr>
          <p:spPr>
            <a:xfrm>
              <a:off x="1537865" y="3001655"/>
              <a:ext cx="360000" cy="360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
            </a:p>
          </p:txBody>
        </p:sp>
        <p:sp>
          <p:nvSpPr>
            <p:cNvPr id="16" name="Título 2">
              <a:extLst>
                <a:ext uri="{FF2B5EF4-FFF2-40B4-BE49-F238E27FC236}">
                  <a16:creationId xmlns:a16="http://schemas.microsoft.com/office/drawing/2014/main" id="{1E1F4F65-2465-9B4E-298B-E8C2A48A93A6}"/>
                </a:ext>
              </a:extLst>
            </p:cNvPr>
            <p:cNvSpPr txBox="1">
              <a:spLocks/>
            </p:cNvSpPr>
            <p:nvPr/>
          </p:nvSpPr>
          <p:spPr>
            <a:xfrm>
              <a:off x="3133073" y="654208"/>
              <a:ext cx="1188691" cy="118682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spc="-150">
                  <a:solidFill>
                    <a:schemeClr val="tx1">
                      <a:lumMod val="75000"/>
                      <a:lumOff val="25000"/>
                    </a:schemeClr>
                  </a:solidFill>
                  <a:latin typeface="+mj-lt"/>
                  <a:ea typeface="+mj-ea"/>
                  <a:cs typeface="+mj-cs"/>
                </a:defRPr>
              </a:lvl1pPr>
            </a:lstStyle>
            <a:p>
              <a:pPr algn="ctr" rtl="0"/>
              <a:r>
                <a:rPr lang="es-ES" sz="7200" b="1" dirty="0">
                  <a:solidFill>
                    <a:schemeClr val="bg1"/>
                  </a:solidFill>
                  <a:latin typeface="Times New Roman" panose="02020603050405020304" pitchFamily="18" charset="0"/>
                  <a:cs typeface="Times New Roman" panose="02020603050405020304" pitchFamily="18" charset="0"/>
                </a:rPr>
                <a:t>?</a:t>
              </a:r>
            </a:p>
          </p:txBody>
        </p:sp>
      </p:grpSp>
      <p:sp>
        <p:nvSpPr>
          <p:cNvPr id="19" name="Marcador de texto 2">
            <a:extLst>
              <a:ext uri="{FF2B5EF4-FFF2-40B4-BE49-F238E27FC236}">
                <a16:creationId xmlns:a16="http://schemas.microsoft.com/office/drawing/2014/main" id="{EB1B145D-C6D0-7636-B993-3B67735A0205}"/>
              </a:ext>
            </a:extLst>
          </p:cNvPr>
          <p:cNvSpPr txBox="1">
            <a:spLocks/>
          </p:cNvSpPr>
          <p:nvPr/>
        </p:nvSpPr>
        <p:spPr>
          <a:xfrm>
            <a:off x="0" y="6315959"/>
            <a:ext cx="12192000" cy="542040"/>
          </a:xfrm>
          <a:prstGeom prst="rect">
            <a:avLst/>
          </a:prstGeom>
          <a:solidFill>
            <a:srgbClr val="0000CC">
              <a:alpha val="80000"/>
            </a:srgbClr>
          </a:solidFill>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dirty="0"/>
              <a:t>Todos tenemos la capacidad de TRANSFORMAR nuestra vida, solo depende de NOSOTROS mismos </a:t>
            </a:r>
          </a:p>
        </p:txBody>
      </p:sp>
      <p:sp>
        <p:nvSpPr>
          <p:cNvPr id="21" name="CuadroTexto 20">
            <a:extLst>
              <a:ext uri="{FF2B5EF4-FFF2-40B4-BE49-F238E27FC236}">
                <a16:creationId xmlns:a16="http://schemas.microsoft.com/office/drawing/2014/main" id="{B3D4CB30-715B-E29B-DF50-18ACA0123CD0}"/>
              </a:ext>
            </a:extLst>
          </p:cNvPr>
          <p:cNvSpPr txBox="1"/>
          <p:nvPr/>
        </p:nvSpPr>
        <p:spPr>
          <a:xfrm>
            <a:off x="285948" y="4025692"/>
            <a:ext cx="12132296" cy="1015663"/>
          </a:xfrm>
          <a:prstGeom prst="rect">
            <a:avLst/>
          </a:prstGeom>
          <a:noFill/>
        </p:spPr>
        <p:txBody>
          <a:bodyPr wrap="square">
            <a:spAutoFit/>
          </a:bodyPr>
          <a:lstStyle/>
          <a:p>
            <a:r>
              <a:rPr lang="es-ES" sz="2000" dirty="0"/>
              <a:t>El Coaching con inteligencia emocional, nos ayuda a obtener resultados extraordinarios en la vida, en nuestra profesión, en la empresa y en los negocios. Mediante el coaching, se profundiza el autoconocimiento, aumenta el rendimiento y mejora la calidad de vida.</a:t>
            </a:r>
            <a:endParaRPr lang="es-ES" sz="2000" dirty="0">
              <a:latin typeface="-apple-system"/>
            </a:endParaRPr>
          </a:p>
        </p:txBody>
      </p:sp>
      <p:sp>
        <p:nvSpPr>
          <p:cNvPr id="25" name="Elipse 24" title="Gráficos circulares en segundo plano">
            <a:extLst>
              <a:ext uri="{FF2B5EF4-FFF2-40B4-BE49-F238E27FC236}">
                <a16:creationId xmlns:a16="http://schemas.microsoft.com/office/drawing/2014/main" id="{F8B8A1FD-74CC-5DE6-9474-69B5F740CDA2}"/>
              </a:ext>
            </a:extLst>
          </p:cNvPr>
          <p:cNvSpPr/>
          <p:nvPr/>
        </p:nvSpPr>
        <p:spPr>
          <a:xfrm>
            <a:off x="10090164" y="2644558"/>
            <a:ext cx="335881" cy="303863"/>
          </a:xfrm>
          <a:prstGeom prst="ellipse">
            <a:avLst/>
          </a:prstGeom>
          <a:solidFill>
            <a:srgbClr val="29E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
          </a:p>
        </p:txBody>
      </p:sp>
      <p:sp>
        <p:nvSpPr>
          <p:cNvPr id="26" name="Elipse 25" title="Gráficos circulares en segundo plano">
            <a:extLst>
              <a:ext uri="{FF2B5EF4-FFF2-40B4-BE49-F238E27FC236}">
                <a16:creationId xmlns:a16="http://schemas.microsoft.com/office/drawing/2014/main" id="{58E858EA-E162-A77E-B7D4-7A58DE2D54D1}"/>
              </a:ext>
            </a:extLst>
          </p:cNvPr>
          <p:cNvSpPr/>
          <p:nvPr/>
        </p:nvSpPr>
        <p:spPr>
          <a:xfrm>
            <a:off x="9663431" y="2500008"/>
            <a:ext cx="335881" cy="303863"/>
          </a:xfrm>
          <a:prstGeom prst="ellipse">
            <a:avLst/>
          </a:prstGeom>
          <a:solidFill>
            <a:srgbClr val="2DF1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
          </a:p>
        </p:txBody>
      </p:sp>
      <p:sp>
        <p:nvSpPr>
          <p:cNvPr id="2" name="Título 2">
            <a:extLst>
              <a:ext uri="{FF2B5EF4-FFF2-40B4-BE49-F238E27FC236}">
                <a16:creationId xmlns:a16="http://schemas.microsoft.com/office/drawing/2014/main" id="{8DACB915-B28B-66B9-F7F2-16EB272D612D}"/>
              </a:ext>
            </a:extLst>
          </p:cNvPr>
          <p:cNvSpPr txBox="1">
            <a:spLocks/>
          </p:cNvSpPr>
          <p:nvPr/>
        </p:nvSpPr>
        <p:spPr>
          <a:xfrm>
            <a:off x="-2063363" y="0"/>
            <a:ext cx="8991600" cy="1261295"/>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es-ES" sz="5200" b="1" i="0" u="none" strike="noStrike" kern="1200" cap="none" spc="-300" normalizeH="0" baseline="0" noProof="0" dirty="0">
                <a:ln>
                  <a:noFill/>
                </a:ln>
                <a:solidFill>
                  <a:srgbClr val="0000CC"/>
                </a:solidFill>
                <a:effectLst/>
                <a:uLnTx/>
                <a:uFillTx/>
                <a:latin typeface="Corbel"/>
                <a:ea typeface="+mj-ea"/>
                <a:cs typeface="+mj-cs"/>
              </a:rPr>
              <a:t>LIFE</a:t>
            </a:r>
            <a:br>
              <a:rPr kumimoji="0" lang="es-ES" sz="5200" b="1" i="0" u="none" strike="noStrike" kern="1200" cap="none" spc="-300" normalizeH="0" baseline="0" noProof="0" dirty="0">
                <a:ln>
                  <a:noFill/>
                </a:ln>
                <a:solidFill>
                  <a:srgbClr val="0000CC"/>
                </a:solidFill>
                <a:effectLst/>
                <a:uLnTx/>
                <a:uFillTx/>
                <a:latin typeface="Corbel"/>
                <a:ea typeface="+mj-ea"/>
                <a:cs typeface="+mj-cs"/>
              </a:rPr>
            </a:br>
            <a:r>
              <a:rPr kumimoji="0" lang="es-ES" sz="5200" b="1" i="0" u="none" strike="noStrike" kern="1200" cap="none" spc="-300" normalizeH="0" baseline="0" noProof="0" dirty="0">
                <a:ln>
                  <a:noFill/>
                </a:ln>
                <a:solidFill>
                  <a:srgbClr val="0000CC"/>
                </a:solidFill>
                <a:effectLst/>
                <a:uLnTx/>
                <a:uFillTx/>
                <a:latin typeface="Corbel"/>
                <a:ea typeface="+mj-ea"/>
                <a:cs typeface="+mj-cs"/>
              </a:rPr>
              <a:t>                                                 </a:t>
            </a:r>
            <a:r>
              <a:rPr kumimoji="0" lang="es-ES" sz="3200" b="1" i="0" u="none" strike="noStrike" kern="1200" cap="none" spc="-300" normalizeH="0" baseline="0" noProof="0" dirty="0" err="1">
                <a:ln>
                  <a:noFill/>
                </a:ln>
                <a:solidFill>
                  <a:srgbClr val="0000CC"/>
                </a:solidFill>
                <a:effectLst/>
                <a:uLnTx/>
                <a:uFillTx/>
                <a:latin typeface="Corbel"/>
                <a:ea typeface="+mj-ea"/>
                <a:cs typeface="+mj-cs"/>
              </a:rPr>
              <a:t>My</a:t>
            </a:r>
            <a:r>
              <a:rPr kumimoji="0" lang="es-ES" sz="3200" b="1" i="0" u="none" strike="noStrike" kern="1200" cap="none" spc="-300" normalizeH="0" baseline="0" noProof="0" dirty="0">
                <a:ln>
                  <a:noFill/>
                </a:ln>
                <a:solidFill>
                  <a:srgbClr val="0000CC"/>
                </a:solidFill>
                <a:effectLst/>
                <a:uLnTx/>
                <a:uFillTx/>
                <a:latin typeface="Corbel"/>
                <a:ea typeface="+mj-ea"/>
                <a:cs typeface="+mj-cs"/>
              </a:rPr>
              <a:t> </a:t>
            </a:r>
            <a:r>
              <a:rPr kumimoji="0" lang="es-ES" sz="3200" b="1" i="0" u="none" strike="noStrike" kern="1200" cap="none" spc="-300" normalizeH="0" baseline="0" noProof="0" dirty="0" err="1">
                <a:ln>
                  <a:noFill/>
                </a:ln>
                <a:solidFill>
                  <a:srgbClr val="0000CC"/>
                </a:solidFill>
                <a:effectLst/>
                <a:uLnTx/>
                <a:uFillTx/>
                <a:latin typeface="Corbel"/>
                <a:ea typeface="+mj-ea"/>
                <a:cs typeface="+mj-cs"/>
              </a:rPr>
              <a:t>purpose</a:t>
            </a:r>
            <a:endParaRPr kumimoji="0" lang="es-ES" sz="3200" b="1" i="0" u="none" strike="noStrike" kern="1200" cap="none" spc="-300" normalizeH="0" baseline="0" noProof="0" dirty="0">
              <a:ln>
                <a:noFill/>
              </a:ln>
              <a:solidFill>
                <a:srgbClr val="0000CC"/>
              </a:solidFill>
              <a:effectLst/>
              <a:uLnTx/>
              <a:uFillTx/>
              <a:latin typeface="Corbel"/>
              <a:ea typeface="+mj-ea"/>
              <a:cs typeface="+mj-cs"/>
            </a:endParaRPr>
          </a:p>
        </p:txBody>
      </p:sp>
    </p:spTree>
    <p:extLst>
      <p:ext uri="{BB962C8B-B14F-4D97-AF65-F5344CB8AC3E}">
        <p14:creationId xmlns:p14="http://schemas.microsoft.com/office/powerpoint/2010/main" val="2971168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ítulo 3">
            <a:extLst>
              <a:ext uri="{FF2B5EF4-FFF2-40B4-BE49-F238E27FC236}">
                <a16:creationId xmlns:a16="http://schemas.microsoft.com/office/drawing/2014/main" id="{12B1270C-F633-9796-D54A-4B18D5CA9451}"/>
              </a:ext>
            </a:extLst>
          </p:cNvPr>
          <p:cNvSpPr txBox="1">
            <a:spLocks/>
          </p:cNvSpPr>
          <p:nvPr/>
        </p:nvSpPr>
        <p:spPr>
          <a:xfrm>
            <a:off x="0" y="6276108"/>
            <a:ext cx="12192000" cy="581891"/>
          </a:xfrm>
          <a:prstGeom prst="rect">
            <a:avLst/>
          </a:prstGeom>
          <a:solidFill>
            <a:srgbClr val="0000CC">
              <a:alpha val="80000"/>
            </a:srgbClr>
          </a:solidFill>
        </p:spPr>
        <p:txBody>
          <a:bodyPr vert="horz" lIns="180000" tIns="180000" rIns="180000" bIns="180000" rtlCol="0">
            <a:noAutofit/>
          </a:bodyPr>
          <a:lstStyle>
            <a:lvl1pPr marL="0" indent="0" algn="r" defTabSz="914400" rtl="0" eaLnBrk="1" latinLnBrk="0" hangingPunct="1">
              <a:lnSpc>
                <a:spcPct val="90000"/>
              </a:lnSpc>
              <a:spcBef>
                <a:spcPts val="1000"/>
              </a:spcBef>
              <a:buFont typeface="Arial" panose="020B0604020202020204" pitchFamily="34" charset="0"/>
              <a:buNone/>
              <a:defRPr lang="en-ZA" sz="1800" kern="1200" dirty="0">
                <a:solidFill>
                  <a:schemeClr val="bg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1600" b="0" i="1" u="none" strike="noStrike" kern="1200" cap="none" spc="0" normalizeH="0" baseline="0" noProof="0" dirty="0">
              <a:ln>
                <a:noFill/>
              </a:ln>
              <a:solidFill>
                <a:srgbClr val="FFFFFF"/>
              </a:solidFill>
              <a:effectLst/>
              <a:uLnTx/>
              <a:uFillTx/>
              <a:latin typeface="Candara"/>
              <a:ea typeface="+mn-ea"/>
              <a:cs typeface="+mn-cs"/>
            </a:endParaRPr>
          </a:p>
        </p:txBody>
      </p:sp>
      <p:sp>
        <p:nvSpPr>
          <p:cNvPr id="176" name="CaixaDeTexto 1">
            <a:extLst>
              <a:ext uri="{FF2B5EF4-FFF2-40B4-BE49-F238E27FC236}">
                <a16:creationId xmlns:a16="http://schemas.microsoft.com/office/drawing/2014/main" id="{7904F9E7-6A77-80B1-9CDB-2717F95B7975}"/>
              </a:ext>
            </a:extLst>
          </p:cNvPr>
          <p:cNvSpPr txBox="1"/>
          <p:nvPr/>
        </p:nvSpPr>
        <p:spPr>
          <a:xfrm>
            <a:off x="72023" y="48625"/>
            <a:ext cx="12695488" cy="646331"/>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4000" b="1" i="0" u="none" strike="noStrike" kern="1200" cap="none" spc="0" normalizeH="0" baseline="0" noProof="0" dirty="0">
                <a:ln>
                  <a:noFill/>
                </a:ln>
                <a:solidFill>
                  <a:srgbClr val="10069F"/>
                </a:solidFill>
                <a:effectLst/>
                <a:uLnTx/>
                <a:uFillTx/>
                <a:latin typeface="Arial" panose="020B0604020202020204"/>
                <a:ea typeface="+mn-ea"/>
                <a:cs typeface="+mn-cs"/>
              </a:rPr>
              <a:t>Modelo LIFE </a:t>
            </a:r>
            <a:endPar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endParaRPr>
          </a:p>
        </p:txBody>
      </p:sp>
      <p:sp>
        <p:nvSpPr>
          <p:cNvPr id="28" name="Title 2">
            <a:extLst>
              <a:ext uri="{FF2B5EF4-FFF2-40B4-BE49-F238E27FC236}">
                <a16:creationId xmlns:a16="http://schemas.microsoft.com/office/drawing/2014/main" id="{2E6D0D01-6A0F-C209-2507-315A7F45EFD9}"/>
              </a:ext>
            </a:extLst>
          </p:cNvPr>
          <p:cNvSpPr txBox="1">
            <a:spLocks/>
          </p:cNvSpPr>
          <p:nvPr/>
        </p:nvSpPr>
        <p:spPr>
          <a:xfrm>
            <a:off x="135679" y="833363"/>
            <a:ext cx="11986154" cy="798976"/>
          </a:xfrm>
          <a:prstGeom prst="rect">
            <a:avLst/>
          </a:prstGeom>
        </p:spPr>
        <p:txBody>
          <a:bodyPr vert="horz" lIns="91440" tIns="45720" rIns="91440" bIns="45720" rtlCol="0" anchor="t">
            <a:normAutofit fontScale="97500" lnSpcReduction="10000"/>
          </a:bodyPr>
          <a:lstStyle>
            <a:lvl1pPr algn="l" defTabSz="914400" rtl="0" eaLnBrk="1" latinLnBrk="0" hangingPunct="1">
              <a:lnSpc>
                <a:spcPct val="90000"/>
              </a:lnSpc>
              <a:spcBef>
                <a:spcPct val="0"/>
              </a:spcBef>
              <a:buNone/>
              <a:defRPr sz="3200" b="1" i="0" kern="1200">
                <a:solidFill>
                  <a:srgbClr val="10069F"/>
                </a:solidFill>
                <a:latin typeface="+mj-lt"/>
                <a:ea typeface="Arial Black" panose="020B060402020202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s-ES" sz="3200" dirty="0">
                <a:solidFill>
                  <a:srgbClr val="0000CC"/>
                </a:solidFill>
                <a:latin typeface="Corbel"/>
              </a:rPr>
              <a:t>M</a:t>
            </a:r>
            <a:r>
              <a:rPr kumimoji="0" lang="es-ES" sz="3200" b="1" i="0" u="none" strike="noStrike" kern="1200" cap="none" spc="-300" normalizeH="0" baseline="0" noProof="0" dirty="0">
                <a:ln>
                  <a:noFill/>
                </a:ln>
                <a:solidFill>
                  <a:srgbClr val="0000CC"/>
                </a:solidFill>
                <a:effectLst/>
                <a:uLnTx/>
                <a:uFillTx/>
                <a:latin typeface="Corbel"/>
                <a:ea typeface="+mj-ea"/>
                <a:cs typeface="+mj-cs"/>
              </a:rPr>
              <a:t>y </a:t>
            </a:r>
            <a:r>
              <a:rPr kumimoji="0" lang="es-ES" sz="3200" b="1" i="0" u="none" strike="noStrike" kern="1200" cap="none" spc="-300" normalizeH="0" baseline="0" noProof="0" dirty="0" err="1">
                <a:ln>
                  <a:noFill/>
                </a:ln>
                <a:solidFill>
                  <a:srgbClr val="0000CC"/>
                </a:solidFill>
                <a:effectLst/>
                <a:uLnTx/>
                <a:uFillTx/>
                <a:latin typeface="Corbel"/>
                <a:ea typeface="+mj-ea"/>
                <a:cs typeface="+mj-cs"/>
              </a:rPr>
              <a:t>purpose</a:t>
            </a:r>
            <a:br>
              <a:rPr kumimoji="0" lang="en-US" sz="2200" b="1" i="0" u="none" strike="noStrike" kern="1200" cap="none" spc="0" normalizeH="0" baseline="0" noProof="0" dirty="0">
                <a:ln>
                  <a:noFill/>
                </a:ln>
                <a:solidFill>
                  <a:srgbClr val="10069F"/>
                </a:solidFill>
                <a:effectLst/>
                <a:uLnTx/>
                <a:uFillTx/>
                <a:latin typeface="Arial" panose="020B0604020202020204"/>
              </a:rPr>
            </a:br>
            <a:r>
              <a:rPr kumimoji="0" lang="en-US" sz="2200" b="1" i="0" u="none" strike="noStrike" kern="1200" cap="none" spc="0" normalizeH="0" baseline="0" noProof="0" dirty="0">
                <a:ln>
                  <a:noFill/>
                </a:ln>
                <a:solidFill>
                  <a:srgbClr val="10069F"/>
                </a:solidFill>
                <a:effectLst/>
                <a:uLnTx/>
                <a:uFillTx/>
                <a:latin typeface="Arial" panose="020B0604020202020204"/>
              </a:rPr>
              <a:t> </a:t>
            </a:r>
          </a:p>
        </p:txBody>
      </p:sp>
      <p:sp>
        <p:nvSpPr>
          <p:cNvPr id="2" name="Title 2">
            <a:extLst>
              <a:ext uri="{FF2B5EF4-FFF2-40B4-BE49-F238E27FC236}">
                <a16:creationId xmlns:a16="http://schemas.microsoft.com/office/drawing/2014/main" id="{4305ED94-B0A5-1E71-0C0F-F4708E824D3D}"/>
              </a:ext>
            </a:extLst>
          </p:cNvPr>
          <p:cNvSpPr txBox="1">
            <a:spLocks/>
          </p:cNvSpPr>
          <p:nvPr/>
        </p:nvSpPr>
        <p:spPr>
          <a:xfrm>
            <a:off x="3118961" y="3429000"/>
            <a:ext cx="11986154" cy="798976"/>
          </a:xfrm>
          <a:prstGeom prst="rect">
            <a:avLst/>
          </a:prstGeom>
        </p:spPr>
        <p:txBody>
          <a:bodyPr vert="horz" lIns="91440" tIns="45720" rIns="91440" bIns="45720" rtlCol="0" anchor="t">
            <a:normAutofit fontScale="97500" lnSpcReduction="10000"/>
          </a:bodyPr>
          <a:lstStyle>
            <a:lvl1pPr algn="l" defTabSz="914400" rtl="0" eaLnBrk="1" latinLnBrk="0" hangingPunct="1">
              <a:lnSpc>
                <a:spcPct val="90000"/>
              </a:lnSpc>
              <a:spcBef>
                <a:spcPct val="0"/>
              </a:spcBef>
              <a:buNone/>
              <a:defRPr sz="3200" b="1" i="0" kern="1200">
                <a:solidFill>
                  <a:srgbClr val="10069F"/>
                </a:solidFill>
                <a:latin typeface="+mj-lt"/>
                <a:ea typeface="Arial Black" panose="020B060402020202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s-ES" sz="3200" dirty="0" err="1">
                <a:solidFill>
                  <a:srgbClr val="0000CC"/>
                </a:solidFill>
                <a:latin typeface="Corbel"/>
              </a:rPr>
              <a:t>Visualizacion</a:t>
            </a:r>
            <a:r>
              <a:rPr lang="es-ES" sz="3200" dirty="0">
                <a:solidFill>
                  <a:srgbClr val="0000CC"/>
                </a:solidFill>
                <a:latin typeface="Corbel"/>
              </a:rPr>
              <a:t>: Tu mejor vida</a:t>
            </a:r>
            <a:br>
              <a:rPr kumimoji="0" lang="en-US" sz="2200" b="1" i="0" u="none" strike="noStrike" kern="1200" cap="none" spc="0" normalizeH="0" baseline="0" noProof="0" dirty="0">
                <a:ln>
                  <a:noFill/>
                </a:ln>
                <a:solidFill>
                  <a:srgbClr val="10069F"/>
                </a:solidFill>
                <a:effectLst/>
                <a:uLnTx/>
                <a:uFillTx/>
                <a:latin typeface="Arial" panose="020B0604020202020204"/>
              </a:rPr>
            </a:br>
            <a:r>
              <a:rPr kumimoji="0" lang="en-US" sz="2200" b="1" i="0" u="none" strike="noStrike" kern="1200" cap="none" spc="0" normalizeH="0" baseline="0" noProof="0" dirty="0">
                <a:ln>
                  <a:noFill/>
                </a:ln>
                <a:solidFill>
                  <a:srgbClr val="10069F"/>
                </a:solidFill>
                <a:effectLst/>
                <a:uLnTx/>
                <a:uFillTx/>
                <a:latin typeface="Arial" panose="020B0604020202020204"/>
              </a:rPr>
              <a:t> </a:t>
            </a:r>
          </a:p>
        </p:txBody>
      </p:sp>
      <p:sp>
        <p:nvSpPr>
          <p:cNvPr id="5" name="CuadroTexto 4">
            <a:extLst>
              <a:ext uri="{FF2B5EF4-FFF2-40B4-BE49-F238E27FC236}">
                <a16:creationId xmlns:a16="http://schemas.microsoft.com/office/drawing/2014/main" id="{400B059E-D658-B563-83DB-1BF90A9D8992}"/>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6" name="CuadroTexto 5">
            <a:extLst>
              <a:ext uri="{FF2B5EF4-FFF2-40B4-BE49-F238E27FC236}">
                <a16:creationId xmlns:a16="http://schemas.microsoft.com/office/drawing/2014/main" id="{362C08EB-515D-4227-C575-53C941C83F6E}"/>
              </a:ext>
            </a:extLst>
          </p:cNvPr>
          <p:cNvSpPr txBox="1"/>
          <p:nvPr/>
        </p:nvSpPr>
        <p:spPr>
          <a:xfrm>
            <a:off x="-187891" y="6289202"/>
            <a:ext cx="2517731" cy="3139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600" b="0" i="1" u="none" strike="noStrike" kern="1200" cap="none" spc="0" normalizeH="0" baseline="0" noProof="0" dirty="0">
                <a:ln>
                  <a:noFill/>
                </a:ln>
                <a:solidFill>
                  <a:srgbClr val="FFFFFF"/>
                </a:solidFill>
                <a:effectLst/>
                <a:uLnTx/>
                <a:uFillTx/>
                <a:latin typeface="Candara"/>
                <a:ea typeface="+mn-ea"/>
                <a:cs typeface="+mn-cs"/>
              </a:rPr>
              <a:t>A la Connie Clark </a:t>
            </a:r>
          </a:p>
        </p:txBody>
      </p:sp>
      <p:sp>
        <p:nvSpPr>
          <p:cNvPr id="3" name="Título 2">
            <a:extLst>
              <a:ext uri="{FF2B5EF4-FFF2-40B4-BE49-F238E27FC236}">
                <a16:creationId xmlns:a16="http://schemas.microsoft.com/office/drawing/2014/main" id="{267B6024-7D93-6903-D510-43571DB92981}"/>
              </a:ext>
            </a:extLst>
          </p:cNvPr>
          <p:cNvSpPr txBox="1">
            <a:spLocks/>
          </p:cNvSpPr>
          <p:nvPr/>
        </p:nvSpPr>
        <p:spPr>
          <a:xfrm>
            <a:off x="1923967" y="2167705"/>
            <a:ext cx="8991600" cy="1261295"/>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L="0" marR="0" lvl="0" indent="0" algn="ctr" defTabSz="914400" rtl="0" eaLnBrk="1" fontAlgn="auto" latinLnBrk="0" hangingPunct="1">
              <a:lnSpc>
                <a:spcPct val="70000"/>
              </a:lnSpc>
              <a:spcBef>
                <a:spcPct val="0"/>
              </a:spcBef>
              <a:spcAft>
                <a:spcPts val="0"/>
              </a:spcAft>
              <a:buClrTx/>
              <a:buSzTx/>
              <a:buFontTx/>
              <a:buNone/>
              <a:tabLst/>
              <a:defRPr/>
            </a:pPr>
            <a:r>
              <a:rPr lang="es-ES" sz="2800" dirty="0"/>
              <a:t>DIPLOMATURA EN ENEAGRAMA, NEUROCIENCIAS Y COACHING PARA EL DESARROLLO ORGANIZACIONAL Y EL LIDERAZGO</a:t>
            </a:r>
            <a:endParaRPr kumimoji="0" lang="es-ES" sz="3200" b="1" i="0" u="none" strike="noStrike" kern="1200" cap="none" spc="-300" normalizeH="0" baseline="0" noProof="0" dirty="0">
              <a:ln>
                <a:noFill/>
              </a:ln>
              <a:solidFill>
                <a:srgbClr val="0000CC"/>
              </a:solidFill>
              <a:effectLst/>
              <a:uLnTx/>
              <a:uFillTx/>
              <a:latin typeface="Corbel"/>
              <a:ea typeface="+mj-ea"/>
              <a:cs typeface="+mj-cs"/>
            </a:endParaRPr>
          </a:p>
        </p:txBody>
      </p:sp>
    </p:spTree>
    <p:extLst>
      <p:ext uri="{BB962C8B-B14F-4D97-AF65-F5344CB8AC3E}">
        <p14:creationId xmlns:p14="http://schemas.microsoft.com/office/powerpoint/2010/main" val="18506979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aixaDeTexto 1">
            <a:extLst>
              <a:ext uri="{FF2B5EF4-FFF2-40B4-BE49-F238E27FC236}">
                <a16:creationId xmlns:a16="http://schemas.microsoft.com/office/drawing/2014/main" id="{4281BD7D-9865-4DB2-0E4C-00ADCEF1D199}"/>
              </a:ext>
            </a:extLst>
          </p:cNvPr>
          <p:cNvSpPr txBox="1"/>
          <p:nvPr/>
        </p:nvSpPr>
        <p:spPr>
          <a:xfrm>
            <a:off x="72023" y="48625"/>
            <a:ext cx="936725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srgbClr val="10069F"/>
                </a:solidFill>
                <a:effectLst/>
                <a:uLnTx/>
                <a:uFillTx/>
                <a:latin typeface="Arial" panose="020B0604020202020204"/>
                <a:ea typeface="+mn-ea"/>
                <a:cs typeface="+mn-cs"/>
              </a:rPr>
              <a:t>Programa de Desarrollo</a:t>
            </a:r>
            <a:endParaRPr kumimoji="0" lang="en-US" sz="40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aphicFrame>
        <p:nvGraphicFramePr>
          <p:cNvPr id="2" name="Diagram 26">
            <a:extLst>
              <a:ext uri="{FF2B5EF4-FFF2-40B4-BE49-F238E27FC236}">
                <a16:creationId xmlns:a16="http://schemas.microsoft.com/office/drawing/2014/main" id="{4144122B-2481-25DF-41BF-6658DB5BEFBC}"/>
              </a:ext>
            </a:extLst>
          </p:cNvPr>
          <p:cNvGraphicFramePr/>
          <p:nvPr>
            <p:extLst>
              <p:ext uri="{D42A27DB-BD31-4B8C-83A1-F6EECF244321}">
                <p14:modId xmlns:p14="http://schemas.microsoft.com/office/powerpoint/2010/main" val="18403511"/>
              </p:ext>
            </p:extLst>
          </p:nvPr>
        </p:nvGraphicFramePr>
        <p:xfrm>
          <a:off x="2048511" y="627200"/>
          <a:ext cx="5638165"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Isosceles Triangle 10">
            <a:extLst>
              <a:ext uri="{FF2B5EF4-FFF2-40B4-BE49-F238E27FC236}">
                <a16:creationId xmlns:a16="http://schemas.microsoft.com/office/drawing/2014/main" id="{6A9C0728-4F83-0CE6-034E-0F56331FFE5C}"/>
              </a:ext>
            </a:extLst>
          </p:cNvPr>
          <p:cNvSpPr/>
          <p:nvPr/>
        </p:nvSpPr>
        <p:spPr>
          <a:xfrm rot="5400000" flipH="1">
            <a:off x="5583837" y="2955863"/>
            <a:ext cx="4776518" cy="57084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8" name="Speech Bubble: Rectangle 57">
            <a:extLst>
              <a:ext uri="{FF2B5EF4-FFF2-40B4-BE49-F238E27FC236}">
                <a16:creationId xmlns:a16="http://schemas.microsoft.com/office/drawing/2014/main" id="{65150C9F-D8BF-3ECF-CDBB-8D81095F3C1C}"/>
              </a:ext>
            </a:extLst>
          </p:cNvPr>
          <p:cNvSpPr/>
          <p:nvPr/>
        </p:nvSpPr>
        <p:spPr>
          <a:xfrm>
            <a:off x="261135" y="967331"/>
            <a:ext cx="1892152" cy="1035571"/>
          </a:xfrm>
          <a:prstGeom prst="wedgeRectCallout">
            <a:avLst>
              <a:gd name="adj1" fmla="val -20833"/>
              <a:gd name="adj2" fmla="val 25141"/>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LIFE</a:t>
            </a:r>
          </a:p>
        </p:txBody>
      </p:sp>
      <p:sp>
        <p:nvSpPr>
          <p:cNvPr id="20" name="Speech Bubble: Rectangle 57">
            <a:extLst>
              <a:ext uri="{FF2B5EF4-FFF2-40B4-BE49-F238E27FC236}">
                <a16:creationId xmlns:a16="http://schemas.microsoft.com/office/drawing/2014/main" id="{5B8ED30F-16E6-B942-3707-DB59BAE3FDA0}"/>
              </a:ext>
            </a:extLst>
          </p:cNvPr>
          <p:cNvSpPr/>
          <p:nvPr/>
        </p:nvSpPr>
        <p:spPr>
          <a:xfrm>
            <a:off x="280820" y="2193002"/>
            <a:ext cx="1892152" cy="1035571"/>
          </a:xfrm>
          <a:prstGeom prst="wedgeRectCallout">
            <a:avLst>
              <a:gd name="adj1" fmla="val -20833"/>
              <a:gd name="adj2" fmla="val 25141"/>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a:ln>
                  <a:noFill/>
                </a:ln>
                <a:solidFill>
                  <a:prstClr val="white"/>
                </a:solidFill>
                <a:effectLst/>
                <a:uLnTx/>
                <a:uFillTx/>
                <a:latin typeface="Arial" panose="020B0604020202020204"/>
                <a:ea typeface="+mn-ea"/>
                <a:cs typeface="+mn-cs"/>
              </a:rPr>
              <a:t>M - FP</a:t>
            </a:r>
          </a:p>
        </p:txBody>
      </p:sp>
      <p:sp>
        <p:nvSpPr>
          <p:cNvPr id="21" name="Speech Bubble: Rectangle 57">
            <a:extLst>
              <a:ext uri="{FF2B5EF4-FFF2-40B4-BE49-F238E27FC236}">
                <a16:creationId xmlns:a16="http://schemas.microsoft.com/office/drawing/2014/main" id="{7D48D3B1-4788-B4DC-0986-A6967AC3BC73}"/>
              </a:ext>
            </a:extLst>
          </p:cNvPr>
          <p:cNvSpPr/>
          <p:nvPr/>
        </p:nvSpPr>
        <p:spPr>
          <a:xfrm>
            <a:off x="280820" y="3446874"/>
            <a:ext cx="1892152" cy="1035571"/>
          </a:xfrm>
          <a:prstGeom prst="wedgeRectCallout">
            <a:avLst>
              <a:gd name="adj1" fmla="val -20833"/>
              <a:gd name="adj2" fmla="val 25141"/>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rPr>
              <a:t>DIO</a:t>
            </a:r>
          </a:p>
        </p:txBody>
      </p:sp>
      <p:sp>
        <p:nvSpPr>
          <p:cNvPr id="26" name="Speech Bubble: Rectangle 57">
            <a:extLst>
              <a:ext uri="{FF2B5EF4-FFF2-40B4-BE49-F238E27FC236}">
                <a16:creationId xmlns:a16="http://schemas.microsoft.com/office/drawing/2014/main" id="{644145AD-9A9E-51F9-1620-D023AFBEF144}"/>
              </a:ext>
            </a:extLst>
          </p:cNvPr>
          <p:cNvSpPr/>
          <p:nvPr/>
        </p:nvSpPr>
        <p:spPr>
          <a:xfrm>
            <a:off x="280820" y="4672545"/>
            <a:ext cx="1892152" cy="1035571"/>
          </a:xfrm>
          <a:prstGeom prst="wedgeRectCallout">
            <a:avLst>
              <a:gd name="adj1" fmla="val -20833"/>
              <a:gd name="adj2" fmla="val 25141"/>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rPr>
              <a:t>F2G</a:t>
            </a:r>
          </a:p>
        </p:txBody>
      </p:sp>
      <p:sp>
        <p:nvSpPr>
          <p:cNvPr id="29" name="Speech Bubble: Rectangle 57">
            <a:extLst>
              <a:ext uri="{FF2B5EF4-FFF2-40B4-BE49-F238E27FC236}">
                <a16:creationId xmlns:a16="http://schemas.microsoft.com/office/drawing/2014/main" id="{5075C342-53C6-C223-0A22-68A92214BFEA}"/>
              </a:ext>
            </a:extLst>
          </p:cNvPr>
          <p:cNvSpPr/>
          <p:nvPr/>
        </p:nvSpPr>
        <p:spPr>
          <a:xfrm>
            <a:off x="8438489" y="1348371"/>
            <a:ext cx="3219465" cy="4869146"/>
          </a:xfrm>
          <a:prstGeom prst="wedgeRectCallout">
            <a:avLst>
              <a:gd name="adj1" fmla="val -20833"/>
              <a:gd name="adj2" fmla="val 25141"/>
            </a:avLst>
          </a:prstGeom>
          <a:solidFill>
            <a:schemeClr val="accent1">
              <a:lumMod val="40000"/>
              <a:lumOff val="6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0" name="CuadroTexto 29">
            <a:extLst>
              <a:ext uri="{FF2B5EF4-FFF2-40B4-BE49-F238E27FC236}">
                <a16:creationId xmlns:a16="http://schemas.microsoft.com/office/drawing/2014/main" id="{F6CEF37B-2CD9-48E0-6102-8BC97C182F07}"/>
              </a:ext>
            </a:extLst>
          </p:cNvPr>
          <p:cNvSpPr txBox="1"/>
          <p:nvPr/>
        </p:nvSpPr>
        <p:spPr>
          <a:xfrm>
            <a:off x="8593697" y="2153675"/>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OTIF: &gt;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OTIF Tier-1: &gt;85%</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1" name="CuadroTexto 30">
            <a:extLst>
              <a:ext uri="{FF2B5EF4-FFF2-40B4-BE49-F238E27FC236}">
                <a16:creationId xmlns:a16="http://schemas.microsoft.com/office/drawing/2014/main" id="{FD2ED003-BC7B-D406-8552-561716E7AB02}"/>
              </a:ext>
            </a:extLst>
          </p:cNvPr>
          <p:cNvSpPr txBox="1"/>
          <p:nvPr/>
        </p:nvSpPr>
        <p:spPr>
          <a:xfrm>
            <a:off x="8593697" y="2857254"/>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9.4% / Net Sales</a:t>
            </a:r>
          </a:p>
        </p:txBody>
      </p:sp>
      <p:sp>
        <p:nvSpPr>
          <p:cNvPr id="32" name="CuadroTexto 31">
            <a:extLst>
              <a:ext uri="{FF2B5EF4-FFF2-40B4-BE49-F238E27FC236}">
                <a16:creationId xmlns:a16="http://schemas.microsoft.com/office/drawing/2014/main" id="{E19CF76E-B9D4-048B-05C8-1927AE7D1644}"/>
              </a:ext>
            </a:extLst>
          </p:cNvPr>
          <p:cNvSpPr txBox="1"/>
          <p:nvPr/>
        </p:nvSpPr>
        <p:spPr>
          <a:xfrm>
            <a:off x="8594804" y="3593038"/>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lt; 70 </a:t>
            </a:r>
            <a:r>
              <a:rPr kumimoji="0" lang="es-ES" sz="1800" b="1" i="0" u="none" strike="noStrike" kern="1200" cap="none" spc="0" normalizeH="0" baseline="0" noProof="0" dirty="0" err="1">
                <a:ln>
                  <a:noFill/>
                </a:ln>
                <a:solidFill>
                  <a:prstClr val="white"/>
                </a:solidFill>
                <a:effectLst/>
                <a:uLnTx/>
                <a:uFillTx/>
                <a:latin typeface="Arial" panose="020B0604020202020204"/>
                <a:ea typeface="+mn-ea"/>
                <a:cs typeface="+mn-cs"/>
              </a:rPr>
              <a:t>ds</a:t>
            </a:r>
            <a:endPar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3" name="CuadroTexto 32">
            <a:extLst>
              <a:ext uri="{FF2B5EF4-FFF2-40B4-BE49-F238E27FC236}">
                <a16:creationId xmlns:a16="http://schemas.microsoft.com/office/drawing/2014/main" id="{3DEA2DB9-60EB-9BC1-C8CE-A55664D3D3F3}"/>
              </a:ext>
            </a:extLst>
          </p:cNvPr>
          <p:cNvSpPr txBox="1"/>
          <p:nvPr/>
        </p:nvSpPr>
        <p:spPr>
          <a:xfrm>
            <a:off x="8594804" y="4331352"/>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Gross </a:t>
            </a:r>
            <a:r>
              <a:rPr kumimoji="0" lang="es-ES" sz="1800" b="1" i="0" u="none" strike="noStrike" kern="1200" cap="none" spc="0" normalizeH="0" baseline="0" noProof="0" dirty="0" err="1">
                <a:ln>
                  <a:noFill/>
                </a:ln>
                <a:solidFill>
                  <a:prstClr val="white"/>
                </a:solidFill>
                <a:effectLst/>
                <a:uLnTx/>
                <a:uFillTx/>
                <a:latin typeface="Arial" panose="020B0604020202020204"/>
                <a:ea typeface="+mn-ea"/>
                <a:cs typeface="+mn-cs"/>
              </a:rPr>
              <a:t>Productivity</a:t>
            </a:r>
            <a:endPar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18MM</a:t>
            </a:r>
          </a:p>
        </p:txBody>
      </p:sp>
      <p:sp>
        <p:nvSpPr>
          <p:cNvPr id="36" name="CuadroTexto 35">
            <a:extLst>
              <a:ext uri="{FF2B5EF4-FFF2-40B4-BE49-F238E27FC236}">
                <a16:creationId xmlns:a16="http://schemas.microsoft.com/office/drawing/2014/main" id="{D1444523-D54D-FC48-3E8F-8ED99E06FCBF}"/>
              </a:ext>
            </a:extLst>
          </p:cNvPr>
          <p:cNvSpPr txBox="1"/>
          <p:nvPr/>
        </p:nvSpPr>
        <p:spPr>
          <a:xfrm>
            <a:off x="628905" y="1927387"/>
            <a:ext cx="743367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10069F"/>
                </a:solidFill>
                <a:effectLst/>
                <a:uLnTx/>
                <a:uFillTx/>
                <a:latin typeface="Arial" panose="020B0604020202020204"/>
                <a:ea typeface="+mn-ea"/>
                <a:cs typeface="+mn-cs"/>
              </a:rPr>
              <a:t>Cómo contribuimos desde nuestro Equipo</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37" name="TextBox 48">
            <a:extLst>
              <a:ext uri="{FF2B5EF4-FFF2-40B4-BE49-F238E27FC236}">
                <a16:creationId xmlns:a16="http://schemas.microsoft.com/office/drawing/2014/main" id="{8825BAE9-7250-D1C2-D5E8-CC6D40920EC3}"/>
              </a:ext>
            </a:extLst>
          </p:cNvPr>
          <p:cNvSpPr txBox="1"/>
          <p:nvPr/>
        </p:nvSpPr>
        <p:spPr>
          <a:xfrm>
            <a:off x="8438489" y="640484"/>
            <a:ext cx="3219464" cy="707886"/>
          </a:xfrm>
          <a:prstGeom prst="rect">
            <a:avLst/>
          </a:prstGeom>
          <a:solidFill>
            <a:schemeClr val="accent1">
              <a:lumMod val="20000"/>
              <a:lumOff val="8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spcFirstLastPara="0" vert="horz" wrap="square" lIns="396319" tIns="35560" rIns="35560" bIns="35560" numCol="1" spcCol="1270" anchor="ctr" anchorCtr="0">
            <a:no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s-AR" sz="1800" b="1" i="0" u="none" strike="noStrike" kern="1200" cap="none" spc="0" normalizeH="0" baseline="0" noProof="0" dirty="0">
                <a:ln>
                  <a:noFill/>
                </a:ln>
                <a:solidFill>
                  <a:srgbClr val="292929"/>
                </a:solidFill>
                <a:effectLst/>
                <a:uLnTx/>
                <a:uFillTx/>
                <a:latin typeface="Arial" panose="020B0604020202020204"/>
                <a:ea typeface="+mn-ea"/>
                <a:cs typeface="+mn-cs"/>
              </a:rPr>
              <a:t>Targets </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s-AR" sz="1800" b="1" i="0" u="none" strike="noStrike" kern="1200" cap="none" spc="0" normalizeH="0" baseline="0" noProof="0" dirty="0">
                <a:ln>
                  <a:noFill/>
                </a:ln>
                <a:solidFill>
                  <a:srgbClr val="292929"/>
                </a:solidFill>
                <a:effectLst/>
                <a:uLnTx/>
                <a:uFillTx/>
                <a:latin typeface="Arial" panose="020B0604020202020204"/>
                <a:ea typeface="+mn-ea"/>
                <a:cs typeface="+mn-cs"/>
              </a:rPr>
              <a:t>2024</a:t>
            </a:r>
          </a:p>
        </p:txBody>
      </p:sp>
      <p:sp>
        <p:nvSpPr>
          <p:cNvPr id="39" name="Elipse 38">
            <a:extLst>
              <a:ext uri="{FF2B5EF4-FFF2-40B4-BE49-F238E27FC236}">
                <a16:creationId xmlns:a16="http://schemas.microsoft.com/office/drawing/2014/main" id="{D453A3D5-72B4-06C2-3945-D66C762CED56}"/>
              </a:ext>
            </a:extLst>
          </p:cNvPr>
          <p:cNvSpPr/>
          <p:nvPr/>
        </p:nvSpPr>
        <p:spPr>
          <a:xfrm>
            <a:off x="2046925" y="2241027"/>
            <a:ext cx="1042009" cy="1042009"/>
          </a:xfrm>
          <a:prstGeom prst="ellipse">
            <a:avLst/>
          </a:prstGeom>
          <a:blipFill rotWithShape="0">
            <a:blip r:embed="rId8"/>
            <a:srcRect/>
            <a:stretch>
              <a:fillRect t="-2000" b="-2000"/>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40" name="Elipse 39">
            <a:extLst>
              <a:ext uri="{FF2B5EF4-FFF2-40B4-BE49-F238E27FC236}">
                <a16:creationId xmlns:a16="http://schemas.microsoft.com/office/drawing/2014/main" id="{C3319EDD-B9FE-1D5A-9D3F-1C2B04E3BE28}"/>
              </a:ext>
            </a:extLst>
          </p:cNvPr>
          <p:cNvSpPr/>
          <p:nvPr/>
        </p:nvSpPr>
        <p:spPr>
          <a:xfrm>
            <a:off x="2080058" y="3426313"/>
            <a:ext cx="1042009" cy="1042009"/>
          </a:xfrm>
          <a:prstGeom prst="ellipse">
            <a:avLst/>
          </a:prstGeom>
          <a:blipFill rotWithShape="0">
            <a:blip r:embed="rId9"/>
            <a:srcRect/>
            <a:stretch>
              <a:fillRect l="-24000" r="-24000"/>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41" name="Elipse 40">
            <a:extLst>
              <a:ext uri="{FF2B5EF4-FFF2-40B4-BE49-F238E27FC236}">
                <a16:creationId xmlns:a16="http://schemas.microsoft.com/office/drawing/2014/main" id="{82D6D457-761D-4349-70C3-D1E0C45A8B52}"/>
              </a:ext>
            </a:extLst>
          </p:cNvPr>
          <p:cNvSpPr/>
          <p:nvPr/>
        </p:nvSpPr>
        <p:spPr>
          <a:xfrm>
            <a:off x="2037984" y="4686623"/>
            <a:ext cx="1042009" cy="1042009"/>
          </a:xfrm>
          <a:prstGeom prst="ellipse">
            <a:avLst/>
          </a:prstGeom>
          <a:blipFill rotWithShape="0">
            <a:blip r:embed="rId10"/>
            <a:srcRect/>
            <a:stretch>
              <a:fillRect l="-2000" r="-2000"/>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4" name="Speech Bubble: Rectangle 57">
            <a:extLst>
              <a:ext uri="{FF2B5EF4-FFF2-40B4-BE49-F238E27FC236}">
                <a16:creationId xmlns:a16="http://schemas.microsoft.com/office/drawing/2014/main" id="{019DAF25-F4ED-EEFF-6284-0E3D263A81CA}"/>
              </a:ext>
            </a:extLst>
          </p:cNvPr>
          <p:cNvSpPr/>
          <p:nvPr/>
        </p:nvSpPr>
        <p:spPr>
          <a:xfrm>
            <a:off x="261135" y="5769675"/>
            <a:ext cx="1892152" cy="1035571"/>
          </a:xfrm>
          <a:prstGeom prst="wedgeRectCallout">
            <a:avLst>
              <a:gd name="adj1" fmla="val -20833"/>
              <a:gd name="adj2" fmla="val 25141"/>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rPr>
              <a:t>GROW OU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rPr>
              <a:t>PEOPLE</a:t>
            </a:r>
          </a:p>
        </p:txBody>
      </p:sp>
      <p:grpSp>
        <p:nvGrpSpPr>
          <p:cNvPr id="5" name="Grupo 4">
            <a:extLst>
              <a:ext uri="{FF2B5EF4-FFF2-40B4-BE49-F238E27FC236}">
                <a16:creationId xmlns:a16="http://schemas.microsoft.com/office/drawing/2014/main" id="{E06B2B25-B2D5-439A-64FC-BBF0D632DBBD}"/>
              </a:ext>
            </a:extLst>
          </p:cNvPr>
          <p:cNvGrpSpPr/>
          <p:nvPr/>
        </p:nvGrpSpPr>
        <p:grpSpPr>
          <a:xfrm>
            <a:off x="2544940" y="5833241"/>
            <a:ext cx="5101145" cy="833607"/>
            <a:chOff x="441769" y="4168472"/>
            <a:chExt cx="5101145" cy="833607"/>
          </a:xfrm>
        </p:grpSpPr>
        <p:sp>
          <p:nvSpPr>
            <p:cNvPr id="6" name="Rectángulo 5">
              <a:extLst>
                <a:ext uri="{FF2B5EF4-FFF2-40B4-BE49-F238E27FC236}">
                  <a16:creationId xmlns:a16="http://schemas.microsoft.com/office/drawing/2014/main" id="{E37C5043-0369-0A21-8EBC-6B0C6262B56F}"/>
                </a:ext>
              </a:extLst>
            </p:cNvPr>
            <p:cNvSpPr/>
            <p:nvPr/>
          </p:nvSpPr>
          <p:spPr>
            <a:xfrm>
              <a:off x="441769" y="4168472"/>
              <a:ext cx="5101145" cy="83360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CuadroTexto 6">
              <a:extLst>
                <a:ext uri="{FF2B5EF4-FFF2-40B4-BE49-F238E27FC236}">
                  <a16:creationId xmlns:a16="http://schemas.microsoft.com/office/drawing/2014/main" id="{551ECB59-A405-84DB-78C7-8BABB88B148B}"/>
                </a:ext>
              </a:extLst>
            </p:cNvPr>
            <p:cNvSpPr txBox="1"/>
            <p:nvPr/>
          </p:nvSpPr>
          <p:spPr>
            <a:xfrm>
              <a:off x="441769" y="4168472"/>
              <a:ext cx="5101145" cy="83360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1676" tIns="30480" rIns="30480" bIns="3048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s-AR"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ompañar a los Equipos y personas atendiendo sus necesidades, para simplificar su día a </a:t>
              </a:r>
              <a:r>
                <a:rPr kumimoji="0" lang="es-AR" sz="12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ia</a:t>
              </a:r>
              <a:endParaRPr kumimoji="0" lang="es-AR"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8" name="Elipse 7">
            <a:extLst>
              <a:ext uri="{FF2B5EF4-FFF2-40B4-BE49-F238E27FC236}">
                <a16:creationId xmlns:a16="http://schemas.microsoft.com/office/drawing/2014/main" id="{0BDCC253-7E48-9761-3F27-0AFC0F6F2C8A}"/>
              </a:ext>
            </a:extLst>
          </p:cNvPr>
          <p:cNvSpPr/>
          <p:nvPr/>
        </p:nvSpPr>
        <p:spPr>
          <a:xfrm>
            <a:off x="2008189" y="5804280"/>
            <a:ext cx="1042009" cy="1042009"/>
          </a:xfrm>
          <a:prstGeom prst="ellipse">
            <a:avLst/>
          </a:prstGeom>
          <a:blipFill rotWithShape="0">
            <a:blip r:embed="rId9"/>
            <a:srcRect/>
            <a:stretch>
              <a:fillRect l="-24000" r="-24000"/>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1" name="Elipse 10">
            <a:extLst>
              <a:ext uri="{FF2B5EF4-FFF2-40B4-BE49-F238E27FC236}">
                <a16:creationId xmlns:a16="http://schemas.microsoft.com/office/drawing/2014/main" id="{E51241CA-2F0C-B03F-0B33-D7C71100E049}"/>
              </a:ext>
            </a:extLst>
          </p:cNvPr>
          <p:cNvSpPr/>
          <p:nvPr/>
        </p:nvSpPr>
        <p:spPr>
          <a:xfrm>
            <a:off x="2110880" y="5847365"/>
            <a:ext cx="865633" cy="89513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2" name="Gráfico 11" descr="Grupo con relleno sólido">
            <a:extLst>
              <a:ext uri="{FF2B5EF4-FFF2-40B4-BE49-F238E27FC236}">
                <a16:creationId xmlns:a16="http://schemas.microsoft.com/office/drawing/2014/main" id="{98C89F21-BD42-C03E-5830-672D7B436B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62113" y="5813392"/>
            <a:ext cx="914400" cy="914400"/>
          </a:xfrm>
          <a:prstGeom prst="rect">
            <a:avLst/>
          </a:prstGeom>
        </p:spPr>
      </p:pic>
      <p:sp>
        <p:nvSpPr>
          <p:cNvPr id="13" name="CuadroTexto 12">
            <a:extLst>
              <a:ext uri="{FF2B5EF4-FFF2-40B4-BE49-F238E27FC236}">
                <a16:creationId xmlns:a16="http://schemas.microsoft.com/office/drawing/2014/main" id="{A216274D-D8A7-2E56-D967-0FD74C5061F5}"/>
              </a:ext>
            </a:extLst>
          </p:cNvPr>
          <p:cNvSpPr txBox="1"/>
          <p:nvPr/>
        </p:nvSpPr>
        <p:spPr>
          <a:xfrm>
            <a:off x="8593697" y="5061785"/>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Performance/Care</a:t>
            </a:r>
          </a:p>
        </p:txBody>
      </p:sp>
      <p:sp>
        <p:nvSpPr>
          <p:cNvPr id="9" name="CuadroTexto 8">
            <a:extLst>
              <a:ext uri="{FF2B5EF4-FFF2-40B4-BE49-F238E27FC236}">
                <a16:creationId xmlns:a16="http://schemas.microsoft.com/office/drawing/2014/main" id="{6ABE4186-270C-1250-EB37-8D30E7BD0ACA}"/>
              </a:ext>
            </a:extLst>
          </p:cNvPr>
          <p:cNvSpPr txBox="1"/>
          <p:nvPr/>
        </p:nvSpPr>
        <p:spPr>
          <a:xfrm>
            <a:off x="162512" y="625095"/>
            <a:ext cx="743367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10069F"/>
                </a:solidFill>
                <a:effectLst/>
                <a:uLnTx/>
                <a:uFillTx/>
                <a:latin typeface="Arial" panose="020B0604020202020204"/>
                <a:ea typeface="+mn-ea"/>
                <a:cs typeface="+mn-cs"/>
              </a:rPr>
              <a:t>Adaptados a tu realidad actual</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409345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aixaDeTexto 1">
            <a:extLst>
              <a:ext uri="{FF2B5EF4-FFF2-40B4-BE49-F238E27FC236}">
                <a16:creationId xmlns:a16="http://schemas.microsoft.com/office/drawing/2014/main" id="{4281BD7D-9865-4DB2-0E4C-00ADCEF1D199}"/>
              </a:ext>
            </a:extLst>
          </p:cNvPr>
          <p:cNvSpPr txBox="1"/>
          <p:nvPr/>
        </p:nvSpPr>
        <p:spPr>
          <a:xfrm>
            <a:off x="72023" y="48625"/>
            <a:ext cx="936725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419" sz="4000" b="1" i="0" u="none" strike="noStrike" kern="1200" cap="none" spc="0" normalizeH="0" baseline="0" noProof="0" dirty="0">
                <a:ln>
                  <a:noFill/>
                </a:ln>
                <a:solidFill>
                  <a:srgbClr val="10069F"/>
                </a:solidFill>
                <a:effectLst/>
                <a:uLnTx/>
                <a:uFillTx/>
                <a:latin typeface="Arial" panose="020B0604020202020204"/>
                <a:ea typeface="+mn-ea"/>
                <a:cs typeface="+mn-cs"/>
              </a:rPr>
              <a:t>M-FP </a:t>
            </a:r>
          </a:p>
        </p:txBody>
      </p:sp>
      <p:graphicFrame>
        <p:nvGraphicFramePr>
          <p:cNvPr id="2" name="Diagram 26">
            <a:extLst>
              <a:ext uri="{FF2B5EF4-FFF2-40B4-BE49-F238E27FC236}">
                <a16:creationId xmlns:a16="http://schemas.microsoft.com/office/drawing/2014/main" id="{4144122B-2481-25DF-41BF-6658DB5BEFBC}"/>
              </a:ext>
            </a:extLst>
          </p:cNvPr>
          <p:cNvGraphicFramePr/>
          <p:nvPr>
            <p:extLst>
              <p:ext uri="{D42A27DB-BD31-4B8C-83A1-F6EECF244321}">
                <p14:modId xmlns:p14="http://schemas.microsoft.com/office/powerpoint/2010/main" val="1774612680"/>
              </p:ext>
            </p:extLst>
          </p:nvPr>
        </p:nvGraphicFramePr>
        <p:xfrm>
          <a:off x="2048511" y="627200"/>
          <a:ext cx="5638165"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Isosceles Triangle 10">
            <a:extLst>
              <a:ext uri="{FF2B5EF4-FFF2-40B4-BE49-F238E27FC236}">
                <a16:creationId xmlns:a16="http://schemas.microsoft.com/office/drawing/2014/main" id="{6A9C0728-4F83-0CE6-034E-0F56331FFE5C}"/>
              </a:ext>
            </a:extLst>
          </p:cNvPr>
          <p:cNvSpPr/>
          <p:nvPr/>
        </p:nvSpPr>
        <p:spPr>
          <a:xfrm rot="5400000" flipH="1">
            <a:off x="5583837" y="2955863"/>
            <a:ext cx="4776518" cy="57084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9" name="Speech Bubble: Rectangle 57">
            <a:extLst>
              <a:ext uri="{FF2B5EF4-FFF2-40B4-BE49-F238E27FC236}">
                <a16:creationId xmlns:a16="http://schemas.microsoft.com/office/drawing/2014/main" id="{5075C342-53C6-C223-0A22-68A92214BFEA}"/>
              </a:ext>
            </a:extLst>
          </p:cNvPr>
          <p:cNvSpPr/>
          <p:nvPr/>
        </p:nvSpPr>
        <p:spPr>
          <a:xfrm>
            <a:off x="8438489" y="1348371"/>
            <a:ext cx="3219465" cy="4869146"/>
          </a:xfrm>
          <a:prstGeom prst="wedgeRectCallout">
            <a:avLst>
              <a:gd name="adj1" fmla="val -20833"/>
              <a:gd name="adj2" fmla="val 25141"/>
            </a:avLst>
          </a:prstGeom>
          <a:solidFill>
            <a:schemeClr val="accent1">
              <a:lumMod val="40000"/>
              <a:lumOff val="6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0" name="CuadroTexto 29">
            <a:extLst>
              <a:ext uri="{FF2B5EF4-FFF2-40B4-BE49-F238E27FC236}">
                <a16:creationId xmlns:a16="http://schemas.microsoft.com/office/drawing/2014/main" id="{F6CEF37B-2CD9-48E0-6102-8BC97C182F07}"/>
              </a:ext>
            </a:extLst>
          </p:cNvPr>
          <p:cNvSpPr txBox="1"/>
          <p:nvPr/>
        </p:nvSpPr>
        <p:spPr>
          <a:xfrm>
            <a:off x="8593697" y="2153675"/>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OTIF: &gt;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OTIF Tier-1: &gt;85%</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1" name="CuadroTexto 30">
            <a:extLst>
              <a:ext uri="{FF2B5EF4-FFF2-40B4-BE49-F238E27FC236}">
                <a16:creationId xmlns:a16="http://schemas.microsoft.com/office/drawing/2014/main" id="{FD2ED003-BC7B-D406-8552-561716E7AB02}"/>
              </a:ext>
            </a:extLst>
          </p:cNvPr>
          <p:cNvSpPr txBox="1"/>
          <p:nvPr/>
        </p:nvSpPr>
        <p:spPr>
          <a:xfrm>
            <a:off x="8593697" y="2857254"/>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9.4% / Net Sales</a:t>
            </a:r>
          </a:p>
        </p:txBody>
      </p:sp>
      <p:sp>
        <p:nvSpPr>
          <p:cNvPr id="32" name="CuadroTexto 31">
            <a:extLst>
              <a:ext uri="{FF2B5EF4-FFF2-40B4-BE49-F238E27FC236}">
                <a16:creationId xmlns:a16="http://schemas.microsoft.com/office/drawing/2014/main" id="{E19CF76E-B9D4-048B-05C8-1927AE7D1644}"/>
              </a:ext>
            </a:extLst>
          </p:cNvPr>
          <p:cNvSpPr txBox="1"/>
          <p:nvPr/>
        </p:nvSpPr>
        <p:spPr>
          <a:xfrm>
            <a:off x="8594804" y="3593038"/>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lt; 70 </a:t>
            </a:r>
            <a:r>
              <a:rPr kumimoji="0" lang="es-ES" sz="1800" b="1" i="0" u="none" strike="noStrike" kern="1200" cap="none" spc="0" normalizeH="0" baseline="0" noProof="0" dirty="0" err="1">
                <a:ln>
                  <a:noFill/>
                </a:ln>
                <a:solidFill>
                  <a:prstClr val="white"/>
                </a:solidFill>
                <a:effectLst/>
                <a:uLnTx/>
                <a:uFillTx/>
                <a:latin typeface="Arial" panose="020B0604020202020204"/>
                <a:ea typeface="+mn-ea"/>
                <a:cs typeface="+mn-cs"/>
              </a:rPr>
              <a:t>ds</a:t>
            </a:r>
            <a:endPar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3" name="CuadroTexto 32">
            <a:extLst>
              <a:ext uri="{FF2B5EF4-FFF2-40B4-BE49-F238E27FC236}">
                <a16:creationId xmlns:a16="http://schemas.microsoft.com/office/drawing/2014/main" id="{3DEA2DB9-60EB-9BC1-C8CE-A55664D3D3F3}"/>
              </a:ext>
            </a:extLst>
          </p:cNvPr>
          <p:cNvSpPr txBox="1"/>
          <p:nvPr/>
        </p:nvSpPr>
        <p:spPr>
          <a:xfrm>
            <a:off x="8594804" y="4331352"/>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Gross </a:t>
            </a:r>
            <a:r>
              <a:rPr kumimoji="0" lang="es-ES" sz="1800" b="1" i="0" u="none" strike="noStrike" kern="1200" cap="none" spc="0" normalizeH="0" baseline="0" noProof="0" dirty="0" err="1">
                <a:ln>
                  <a:noFill/>
                </a:ln>
                <a:solidFill>
                  <a:prstClr val="white"/>
                </a:solidFill>
                <a:effectLst/>
                <a:uLnTx/>
                <a:uFillTx/>
                <a:latin typeface="Arial" panose="020B0604020202020204"/>
                <a:ea typeface="+mn-ea"/>
                <a:cs typeface="+mn-cs"/>
              </a:rPr>
              <a:t>Productivity</a:t>
            </a:r>
            <a:endPar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18MM</a:t>
            </a:r>
          </a:p>
        </p:txBody>
      </p:sp>
      <p:sp>
        <p:nvSpPr>
          <p:cNvPr id="36" name="CuadroTexto 35">
            <a:extLst>
              <a:ext uri="{FF2B5EF4-FFF2-40B4-BE49-F238E27FC236}">
                <a16:creationId xmlns:a16="http://schemas.microsoft.com/office/drawing/2014/main" id="{D1444523-D54D-FC48-3E8F-8ED99E06FCBF}"/>
              </a:ext>
            </a:extLst>
          </p:cNvPr>
          <p:cNvSpPr txBox="1"/>
          <p:nvPr/>
        </p:nvSpPr>
        <p:spPr>
          <a:xfrm>
            <a:off x="3022970" y="6469567"/>
            <a:ext cx="743367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10069F"/>
                </a:solidFill>
                <a:effectLst/>
                <a:uLnTx/>
                <a:uFillTx/>
                <a:latin typeface="Arial" panose="020B0604020202020204"/>
                <a:ea typeface="+mn-ea"/>
                <a:cs typeface="+mn-cs"/>
              </a:rPr>
              <a:t>Cómo contribuimos desde nuestro Equipo</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37" name="TextBox 48">
            <a:extLst>
              <a:ext uri="{FF2B5EF4-FFF2-40B4-BE49-F238E27FC236}">
                <a16:creationId xmlns:a16="http://schemas.microsoft.com/office/drawing/2014/main" id="{8825BAE9-7250-D1C2-D5E8-CC6D40920EC3}"/>
              </a:ext>
            </a:extLst>
          </p:cNvPr>
          <p:cNvSpPr txBox="1"/>
          <p:nvPr/>
        </p:nvSpPr>
        <p:spPr>
          <a:xfrm>
            <a:off x="8438489" y="640484"/>
            <a:ext cx="3219464" cy="707886"/>
          </a:xfrm>
          <a:prstGeom prst="rect">
            <a:avLst/>
          </a:prstGeom>
          <a:solidFill>
            <a:schemeClr val="accent1">
              <a:lumMod val="20000"/>
              <a:lumOff val="8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spcFirstLastPara="0" vert="horz" wrap="square" lIns="396319" tIns="35560" rIns="35560" bIns="35560" numCol="1" spcCol="1270" anchor="ctr" anchorCtr="0">
            <a:no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s-AR" sz="1800" b="1" i="0" u="none" strike="noStrike" kern="1200" cap="none" spc="0" normalizeH="0" baseline="0" noProof="0" dirty="0">
                <a:ln>
                  <a:noFill/>
                </a:ln>
                <a:solidFill>
                  <a:srgbClr val="292929"/>
                </a:solidFill>
                <a:effectLst/>
                <a:uLnTx/>
                <a:uFillTx/>
                <a:latin typeface="Arial" panose="020B0604020202020204"/>
                <a:ea typeface="+mn-ea"/>
                <a:cs typeface="+mn-cs"/>
              </a:rPr>
              <a:t>Targets </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s-AR" sz="1800" b="1" i="0" u="none" strike="noStrike" kern="1200" cap="none" spc="0" normalizeH="0" baseline="0" noProof="0" dirty="0">
                <a:ln>
                  <a:noFill/>
                </a:ln>
                <a:solidFill>
                  <a:srgbClr val="292929"/>
                </a:solidFill>
                <a:effectLst/>
                <a:uLnTx/>
                <a:uFillTx/>
                <a:latin typeface="Arial" panose="020B0604020202020204"/>
                <a:ea typeface="+mn-ea"/>
                <a:cs typeface="+mn-cs"/>
              </a:rPr>
              <a:t>2024</a:t>
            </a:r>
          </a:p>
        </p:txBody>
      </p:sp>
      <p:sp>
        <p:nvSpPr>
          <p:cNvPr id="13" name="CuadroTexto 12">
            <a:extLst>
              <a:ext uri="{FF2B5EF4-FFF2-40B4-BE49-F238E27FC236}">
                <a16:creationId xmlns:a16="http://schemas.microsoft.com/office/drawing/2014/main" id="{A216274D-D8A7-2E56-D967-0FD74C5061F5}"/>
              </a:ext>
            </a:extLst>
          </p:cNvPr>
          <p:cNvSpPr txBox="1"/>
          <p:nvPr/>
        </p:nvSpPr>
        <p:spPr>
          <a:xfrm>
            <a:off x="8593697" y="5061785"/>
            <a:ext cx="2985789" cy="646331"/>
          </a:xfrm>
          <a:prstGeom prst="rect">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solidFill>
                <a:effectLst/>
                <a:uLnTx/>
                <a:uFillTx/>
                <a:latin typeface="Arial" panose="020B0604020202020204"/>
                <a:ea typeface="+mn-ea"/>
                <a:cs typeface="+mn-cs"/>
              </a:rPr>
              <a:t>Performance/Care</a:t>
            </a:r>
          </a:p>
        </p:txBody>
      </p:sp>
      <p:sp>
        <p:nvSpPr>
          <p:cNvPr id="9" name="CuadroTexto 8">
            <a:extLst>
              <a:ext uri="{FF2B5EF4-FFF2-40B4-BE49-F238E27FC236}">
                <a16:creationId xmlns:a16="http://schemas.microsoft.com/office/drawing/2014/main" id="{6ABE4186-270C-1250-EB37-8D30E7BD0ACA}"/>
              </a:ext>
            </a:extLst>
          </p:cNvPr>
          <p:cNvSpPr txBox="1"/>
          <p:nvPr/>
        </p:nvSpPr>
        <p:spPr>
          <a:xfrm>
            <a:off x="72026" y="559144"/>
            <a:ext cx="743367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10069F"/>
                </a:solidFill>
                <a:effectLst/>
                <a:uLnTx/>
                <a:uFillTx/>
                <a:latin typeface="Arial" panose="020B0604020202020204"/>
                <a:ea typeface="+mn-ea"/>
                <a:cs typeface="+mn-cs"/>
              </a:rPr>
              <a:t>Programa de Desarrollo</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4" name="Elipse 13">
            <a:extLst>
              <a:ext uri="{FF2B5EF4-FFF2-40B4-BE49-F238E27FC236}">
                <a16:creationId xmlns:a16="http://schemas.microsoft.com/office/drawing/2014/main" id="{2C02ADB2-1734-AD60-DB97-33B04B7CA5C9}"/>
              </a:ext>
            </a:extLst>
          </p:cNvPr>
          <p:cNvSpPr/>
          <p:nvPr/>
        </p:nvSpPr>
        <p:spPr>
          <a:xfrm>
            <a:off x="510168" y="3687014"/>
            <a:ext cx="1935005" cy="1935005"/>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5714642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886EAE91-0C47-3300-07E9-80C7B58AD0E3}"/>
              </a:ext>
            </a:extLst>
          </p:cNvPr>
          <p:cNvSpPr txBox="1">
            <a:spLocks/>
          </p:cNvSpPr>
          <p:nvPr/>
        </p:nvSpPr>
        <p:spPr>
          <a:xfrm>
            <a:off x="75222" y="-85689"/>
            <a:ext cx="12732126" cy="10541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rgbClr val="10069F"/>
                </a:solidFill>
                <a:latin typeface="+mj-lt"/>
                <a:ea typeface="Arial Black" panose="020B060402020202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10069F"/>
                </a:solidFill>
                <a:effectLst/>
                <a:uLnTx/>
                <a:uFillTx/>
                <a:latin typeface="Arial" panose="020B0604020202020204"/>
                <a:sym typeface="Arial"/>
              </a:rPr>
              <a:t>My Full Potential (M- FP)</a:t>
            </a:r>
          </a:p>
        </p:txBody>
      </p:sp>
      <p:sp>
        <p:nvSpPr>
          <p:cNvPr id="45" name="Rectángulo 44">
            <a:extLst>
              <a:ext uri="{FF2B5EF4-FFF2-40B4-BE49-F238E27FC236}">
                <a16:creationId xmlns:a16="http://schemas.microsoft.com/office/drawing/2014/main" id="{72A83B7D-6C70-DD1C-B2C8-D4102747B73F}"/>
              </a:ext>
            </a:extLst>
          </p:cNvPr>
          <p:cNvSpPr/>
          <p:nvPr/>
        </p:nvSpPr>
        <p:spPr>
          <a:xfrm>
            <a:off x="25074" y="843857"/>
            <a:ext cx="12141852" cy="482129"/>
          </a:xfrm>
          <a:prstGeom prst="rect">
            <a:avLst/>
          </a:prstGeom>
          <a:solidFill>
            <a:srgbClr val="10069F"/>
          </a:solidFill>
          <a:ln w="12700" cap="flat" cmpd="sng" algn="ctr">
            <a:solidFill>
              <a:srgbClr val="33D196"/>
            </a:solidFill>
            <a:prstDash val="dash"/>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rPr>
              <a:t>HIGHT PERFORMANCE T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1" u="none" strike="noStrike" kern="0" cap="none" spc="0" normalizeH="0" baseline="0" noProof="0" dirty="0" err="1">
                <a:ln>
                  <a:noFill/>
                </a:ln>
                <a:solidFill>
                  <a:prstClr val="white"/>
                </a:solidFill>
                <a:effectLst/>
                <a:uLnTx/>
                <a:uFillTx/>
                <a:latin typeface="Arial" panose="020B0604020202020204"/>
                <a:ea typeface="+mn-ea"/>
                <a:cs typeface="72 Black" panose="020B0A04030603020204" pitchFamily="34" charset="0"/>
              </a:rPr>
              <a:t>Leading</a:t>
            </a:r>
            <a:r>
              <a:rPr kumimoji="0" lang="es-AR" sz="1400" b="0" i="1"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rPr>
              <a:t> </a:t>
            </a:r>
            <a:r>
              <a:rPr kumimoji="0" lang="es-AR" sz="1400" b="0" i="1" u="none" strike="noStrike" kern="0" cap="none" spc="0" normalizeH="0" baseline="0" noProof="0" dirty="0" err="1">
                <a:ln>
                  <a:noFill/>
                </a:ln>
                <a:solidFill>
                  <a:prstClr val="white"/>
                </a:solidFill>
                <a:effectLst/>
                <a:uLnTx/>
                <a:uFillTx/>
                <a:latin typeface="Arial" panose="020B0604020202020204"/>
                <a:ea typeface="+mn-ea"/>
                <a:cs typeface="72 Black" panose="020B0A04030603020204" pitchFamily="34" charset="0"/>
              </a:rPr>
              <a:t>the</a:t>
            </a:r>
            <a:r>
              <a:rPr kumimoji="0" lang="es-AR" sz="1400" b="0" i="1"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rPr>
              <a:t> </a:t>
            </a:r>
            <a:r>
              <a:rPr kumimoji="0" lang="es-AR" sz="1400" b="0" i="1" u="none" strike="noStrike" kern="0" cap="none" spc="0" normalizeH="0" baseline="0" noProof="0" dirty="0" err="1">
                <a:ln>
                  <a:noFill/>
                </a:ln>
                <a:solidFill>
                  <a:prstClr val="white"/>
                </a:solidFill>
                <a:effectLst/>
                <a:uLnTx/>
                <a:uFillTx/>
                <a:latin typeface="Arial" panose="020B0604020202020204"/>
                <a:ea typeface="+mn-ea"/>
                <a:cs typeface="72 Black" panose="020B0A04030603020204" pitchFamily="34" charset="0"/>
              </a:rPr>
              <a:t>transforation</a:t>
            </a:r>
            <a:endParaRPr kumimoji="0" lang="es-AR" sz="1400" b="0" i="1"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endParaRPr>
          </a:p>
        </p:txBody>
      </p:sp>
      <p:sp>
        <p:nvSpPr>
          <p:cNvPr id="60" name="Rectángulo 59">
            <a:extLst>
              <a:ext uri="{FF2B5EF4-FFF2-40B4-BE49-F238E27FC236}">
                <a16:creationId xmlns:a16="http://schemas.microsoft.com/office/drawing/2014/main" id="{C5B13B58-FAA4-1327-9374-4A9011A0708D}"/>
              </a:ext>
            </a:extLst>
          </p:cNvPr>
          <p:cNvSpPr/>
          <p:nvPr/>
        </p:nvSpPr>
        <p:spPr>
          <a:xfrm>
            <a:off x="0" y="1367083"/>
            <a:ext cx="12192000" cy="489539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CuadroTexto 60">
            <a:extLst>
              <a:ext uri="{FF2B5EF4-FFF2-40B4-BE49-F238E27FC236}">
                <a16:creationId xmlns:a16="http://schemas.microsoft.com/office/drawing/2014/main" id="{DC3D1881-FC91-E340-BA07-88858AD6F2FE}"/>
              </a:ext>
            </a:extLst>
          </p:cNvPr>
          <p:cNvSpPr txBox="1"/>
          <p:nvPr/>
        </p:nvSpPr>
        <p:spPr>
          <a:xfrm>
            <a:off x="3452242" y="3278048"/>
            <a:ext cx="61087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62" name="TextBox 102">
            <a:extLst>
              <a:ext uri="{FF2B5EF4-FFF2-40B4-BE49-F238E27FC236}">
                <a16:creationId xmlns:a16="http://schemas.microsoft.com/office/drawing/2014/main" id="{91EF3339-EF24-E84A-DB78-BAC779BAE365}"/>
              </a:ext>
            </a:extLst>
          </p:cNvPr>
          <p:cNvSpPr txBox="1"/>
          <p:nvPr/>
        </p:nvSpPr>
        <p:spPr>
          <a:xfrm>
            <a:off x="1444149" y="1784633"/>
            <a:ext cx="171500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Sales</a:t>
            </a:r>
          </a:p>
        </p:txBody>
      </p:sp>
      <p:sp>
        <p:nvSpPr>
          <p:cNvPr id="63" name="Rectangle 33">
            <a:extLst>
              <a:ext uri="{FF2B5EF4-FFF2-40B4-BE49-F238E27FC236}">
                <a16:creationId xmlns:a16="http://schemas.microsoft.com/office/drawing/2014/main" id="{1DC6AB99-51C1-8E7F-56DD-04059420DD49}"/>
              </a:ext>
            </a:extLst>
          </p:cNvPr>
          <p:cNvSpPr/>
          <p:nvPr/>
        </p:nvSpPr>
        <p:spPr>
          <a:xfrm>
            <a:off x="75222" y="1449727"/>
            <a:ext cx="3692551" cy="4700868"/>
          </a:xfrm>
          <a:prstGeom prst="rect">
            <a:avLst/>
          </a:prstGeom>
          <a:solidFill>
            <a:srgbClr val="10069F"/>
          </a:solidFill>
          <a:ln w="12700" cap="flat" cmpd="sng" algn="ctr">
            <a:solidFill>
              <a:srgbClr val="00B050"/>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64" name="CuadroTexto 63">
            <a:extLst>
              <a:ext uri="{FF2B5EF4-FFF2-40B4-BE49-F238E27FC236}">
                <a16:creationId xmlns:a16="http://schemas.microsoft.com/office/drawing/2014/main" id="{A19187B6-F4AF-EF56-4248-02F6E1E54C84}"/>
              </a:ext>
            </a:extLst>
          </p:cNvPr>
          <p:cNvSpPr txBox="1"/>
          <p:nvPr/>
        </p:nvSpPr>
        <p:spPr>
          <a:xfrm>
            <a:off x="230391" y="1620124"/>
            <a:ext cx="3480860" cy="4530471"/>
          </a:xfrm>
          <a:prstGeom prst="rect">
            <a:avLst/>
          </a:prstGeom>
          <a:noFill/>
          <a:ln w="3175">
            <a:noFill/>
          </a:ln>
        </p:spPr>
        <p:txBody>
          <a:bodyPr wrap="square">
            <a:spAutoFit/>
          </a:bodyPr>
          <a:lstStyle/>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sym typeface="Arial"/>
              </a:rPr>
              <a:t>SENIOR SPECIALISTS</a:t>
            </a:r>
          </a:p>
          <a:p>
            <a:pPr marL="0" marR="0" lvl="1" indent="0" algn="l" defTabSz="914400" rtl="0" eaLnBrk="1" fontAlgn="auto" latinLnBrk="0" hangingPunct="1">
              <a:lnSpc>
                <a:spcPct val="90000"/>
              </a:lnSpc>
              <a:spcBef>
                <a:spcPts val="0"/>
              </a:spcBef>
              <a:spcAft>
                <a:spcPts val="0"/>
              </a:spcAft>
              <a:buClr>
                <a:srgbClr val="00B050"/>
              </a:buClr>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Regional knowled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err="1">
                <a:ln>
                  <a:noFill/>
                </a:ln>
                <a:solidFill>
                  <a:prstClr val="white"/>
                </a:solidFill>
                <a:effectLst/>
                <a:uLnTx/>
                <a:uFillTx/>
                <a:latin typeface="72" panose="020B0503030000000003" pitchFamily="34" charset="0"/>
                <a:ea typeface="+mn-ea"/>
                <a:cs typeface="72" panose="020B0503030000000003" pitchFamily="34" charset="0"/>
              </a:rPr>
              <a:t>TeamWork</a:t>
            </a: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Integr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PMO (Coordinates and Manages Projects, guaranteeing standardization and taking advantage of resources, technology/Tools and correct and timely commun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Networ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Seniority/Experti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E2E Vi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Analytics Vi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Metrics Standardiz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Tools Management/ knowled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Creative and Innovation profile</a:t>
            </a:r>
          </a:p>
        </p:txBody>
      </p:sp>
      <p:sp>
        <p:nvSpPr>
          <p:cNvPr id="65" name="Rectangle 33">
            <a:extLst>
              <a:ext uri="{FF2B5EF4-FFF2-40B4-BE49-F238E27FC236}">
                <a16:creationId xmlns:a16="http://schemas.microsoft.com/office/drawing/2014/main" id="{F4104495-05D2-F883-F736-B954EF8E515E}"/>
              </a:ext>
            </a:extLst>
          </p:cNvPr>
          <p:cNvSpPr/>
          <p:nvPr/>
        </p:nvSpPr>
        <p:spPr>
          <a:xfrm>
            <a:off x="4273462" y="1449726"/>
            <a:ext cx="3692551" cy="4700867"/>
          </a:xfrm>
          <a:prstGeom prst="rect">
            <a:avLst/>
          </a:prstGeom>
          <a:solidFill>
            <a:srgbClr val="10069F"/>
          </a:solidFill>
          <a:ln w="12700" cap="flat" cmpd="sng" algn="ctr">
            <a:solidFill>
              <a:srgbClr val="00B050"/>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66" name="Rectangle 33">
            <a:extLst>
              <a:ext uri="{FF2B5EF4-FFF2-40B4-BE49-F238E27FC236}">
                <a16:creationId xmlns:a16="http://schemas.microsoft.com/office/drawing/2014/main" id="{F8356404-395A-4F1E-951C-EA2B604CBE56}"/>
              </a:ext>
            </a:extLst>
          </p:cNvPr>
          <p:cNvSpPr/>
          <p:nvPr/>
        </p:nvSpPr>
        <p:spPr>
          <a:xfrm>
            <a:off x="8412802" y="1449726"/>
            <a:ext cx="3692551" cy="4700867"/>
          </a:xfrm>
          <a:prstGeom prst="rect">
            <a:avLst/>
          </a:prstGeom>
          <a:solidFill>
            <a:srgbClr val="10069F"/>
          </a:solidFill>
          <a:ln w="12700" cap="flat" cmpd="sng" algn="ctr">
            <a:solidFill>
              <a:srgbClr val="00B050"/>
            </a:solidFill>
            <a:prstDash val="dash"/>
            <a:miter lim="800000"/>
          </a:ln>
          <a:effectLst/>
        </p:spPr>
        <p:txBody>
          <a:bodyPr rtlCol="0" anchor="ctr"/>
          <a:lstStyle/>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ES" sz="4000" b="1" i="0" u="none" strike="noStrike" kern="1200" cap="none" spc="0" normalizeH="0" baseline="0" noProof="0" dirty="0">
                <a:ln>
                  <a:noFill/>
                </a:ln>
                <a:solidFill>
                  <a:prstClr val="white"/>
                </a:solidFill>
                <a:effectLst/>
                <a:uLnTx/>
                <a:uFillTx/>
                <a:latin typeface="Calibri" panose="020F0502020204030204"/>
                <a:ea typeface="+mn-ea"/>
                <a:cs typeface="+mn-cs"/>
              </a:rPr>
              <a:t>ACHIEVING</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ES" sz="4000" b="1" i="0" u="none" strike="noStrike" kern="1200" cap="none" spc="0" normalizeH="0" baseline="0" noProof="0" dirty="0">
                <a:ln>
                  <a:noFill/>
                </a:ln>
                <a:solidFill>
                  <a:prstClr val="white"/>
                </a:solidFill>
                <a:effectLst/>
                <a:uLnTx/>
                <a:uFillTx/>
                <a:latin typeface="Calibri" panose="020F0502020204030204"/>
                <a:ea typeface="+mn-ea"/>
                <a:cs typeface="+mn-cs"/>
              </a:rPr>
              <a:t>CHALLENGING</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ES" sz="4000" b="1" i="0" u="none" strike="noStrike" kern="1200" cap="none" spc="0" normalizeH="0" baseline="0" noProof="0" dirty="0">
                <a:ln>
                  <a:noFill/>
                </a:ln>
                <a:solidFill>
                  <a:prstClr val="white"/>
                </a:solidFill>
                <a:effectLst/>
                <a:uLnTx/>
                <a:uFillTx/>
                <a:latin typeface="Calibri" panose="020F0502020204030204"/>
                <a:ea typeface="+mn-ea"/>
                <a:cs typeface="+mn-cs"/>
              </a:rPr>
              <a:t>GOALS</a:t>
            </a:r>
          </a:p>
        </p:txBody>
      </p:sp>
      <p:sp>
        <p:nvSpPr>
          <p:cNvPr id="67" name="CuadroTexto 66">
            <a:extLst>
              <a:ext uri="{FF2B5EF4-FFF2-40B4-BE49-F238E27FC236}">
                <a16:creationId xmlns:a16="http://schemas.microsoft.com/office/drawing/2014/main" id="{9416EF77-B1D3-4602-F3B4-6EF9F24628FB}"/>
              </a:ext>
            </a:extLst>
          </p:cNvPr>
          <p:cNvSpPr txBox="1"/>
          <p:nvPr/>
        </p:nvSpPr>
        <p:spPr>
          <a:xfrm>
            <a:off x="4355570" y="2901419"/>
            <a:ext cx="3480860" cy="1754326"/>
          </a:xfrm>
          <a:prstGeom prst="rect">
            <a:avLst/>
          </a:prstGeom>
          <a:noFill/>
        </p:spPr>
        <p:txBody>
          <a:bodyPr wrap="square">
            <a:spAutoFit/>
          </a:bodyPr>
          <a:lstStyle/>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AR" sz="4000" b="1" i="0" u="none" strike="noStrike" kern="1200" cap="none" spc="0" normalizeH="0" baseline="0" noProof="0" dirty="0">
                <a:ln>
                  <a:noFill/>
                </a:ln>
                <a:solidFill>
                  <a:prstClr val="white"/>
                </a:solidFill>
                <a:effectLst/>
                <a:uLnTx/>
                <a:uFillTx/>
                <a:latin typeface="Calibri" panose="020F0502020204030204"/>
                <a:ea typeface="+mn-ea"/>
                <a:cs typeface="+mn-cs"/>
              </a:rPr>
              <a:t>FOCUS </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AR" sz="4000" b="1" i="0" u="none" strike="noStrike" kern="1200" cap="none" spc="0" normalizeH="0" baseline="0" noProof="0" dirty="0">
                <a:ln>
                  <a:noFill/>
                </a:ln>
                <a:solidFill>
                  <a:prstClr val="white"/>
                </a:solidFill>
                <a:effectLst/>
                <a:uLnTx/>
                <a:uFillTx/>
                <a:latin typeface="Calibri" panose="020F0502020204030204"/>
                <a:ea typeface="+mn-ea"/>
                <a:cs typeface="+mn-cs"/>
              </a:rPr>
              <a:t>ON </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AR" sz="4000" b="1" i="0" u="none" strike="noStrike" kern="1200" cap="none" spc="0" normalizeH="0" baseline="0" noProof="0" dirty="0">
                <a:ln>
                  <a:noFill/>
                </a:ln>
                <a:solidFill>
                  <a:prstClr val="white"/>
                </a:solidFill>
                <a:effectLst/>
                <a:uLnTx/>
                <a:uFillTx/>
                <a:latin typeface="Calibri" panose="020F0502020204030204"/>
                <a:ea typeface="+mn-ea"/>
                <a:cs typeface="+mn-cs"/>
              </a:rPr>
              <a:t>PRIORITIES </a:t>
            </a:r>
            <a:endParaRPr kumimoji="0" lang="en-US" sz="4000" b="1"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68" name="Signo más 67">
            <a:extLst>
              <a:ext uri="{FF2B5EF4-FFF2-40B4-BE49-F238E27FC236}">
                <a16:creationId xmlns:a16="http://schemas.microsoft.com/office/drawing/2014/main" id="{F000F177-CE1E-5125-0361-C85164F854D2}"/>
              </a:ext>
            </a:extLst>
          </p:cNvPr>
          <p:cNvSpPr/>
          <p:nvPr/>
        </p:nvSpPr>
        <p:spPr>
          <a:xfrm>
            <a:off x="3764283" y="3406315"/>
            <a:ext cx="518018" cy="571627"/>
          </a:xfrm>
          <a:prstGeom prst="mathPlus">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Es igual a 68">
            <a:extLst>
              <a:ext uri="{FF2B5EF4-FFF2-40B4-BE49-F238E27FC236}">
                <a16:creationId xmlns:a16="http://schemas.microsoft.com/office/drawing/2014/main" id="{A4FBF41C-2C67-8A30-0126-D86EE941CBFE}"/>
              </a:ext>
            </a:extLst>
          </p:cNvPr>
          <p:cNvSpPr/>
          <p:nvPr/>
        </p:nvSpPr>
        <p:spPr>
          <a:xfrm>
            <a:off x="7957503" y="3401999"/>
            <a:ext cx="434581" cy="519555"/>
          </a:xfrm>
          <a:prstGeom prst="mathEqual">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70" name="Conector recto 69">
            <a:extLst>
              <a:ext uri="{FF2B5EF4-FFF2-40B4-BE49-F238E27FC236}">
                <a16:creationId xmlns:a16="http://schemas.microsoft.com/office/drawing/2014/main" id="{CD3C91B5-03C2-8224-29C8-33652BBB9577}"/>
              </a:ext>
            </a:extLst>
          </p:cNvPr>
          <p:cNvCxnSpPr/>
          <p:nvPr/>
        </p:nvCxnSpPr>
        <p:spPr>
          <a:xfrm>
            <a:off x="53956" y="1999899"/>
            <a:ext cx="36925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27116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Liderazgo Transformacional</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
        <p:nvSpPr>
          <p:cNvPr id="3" name="CuadroTexto 2">
            <a:extLst>
              <a:ext uri="{FF2B5EF4-FFF2-40B4-BE49-F238E27FC236}">
                <a16:creationId xmlns:a16="http://schemas.microsoft.com/office/drawing/2014/main" id="{2F2D8F90-5626-85F5-D44D-9B050DAA83BF}"/>
              </a:ext>
            </a:extLst>
          </p:cNvPr>
          <p:cNvSpPr txBox="1"/>
          <p:nvPr/>
        </p:nvSpPr>
        <p:spPr>
          <a:xfrm>
            <a:off x="1472380" y="1119240"/>
            <a:ext cx="8322839" cy="738664"/>
          </a:xfrm>
          <a:prstGeom prst="rect">
            <a:avLst/>
          </a:prstGeom>
          <a:noFill/>
        </p:spPr>
        <p:txBody>
          <a:bodyPr wrap="square">
            <a:spAutoFit/>
          </a:bodyPr>
          <a:lstStyle/>
          <a:p>
            <a:r>
              <a:rPr lang="es-ES" sz="2400" b="1" dirty="0" err="1">
                <a:latin typeface="-apple-system"/>
              </a:rPr>
              <a:t>Definicion</a:t>
            </a:r>
            <a:endParaRPr lang="es-ES" sz="2400" b="1" dirty="0">
              <a:latin typeface="-apple-system"/>
            </a:endParaRPr>
          </a:p>
          <a:p>
            <a:endParaRPr lang="es-ES" dirty="0"/>
          </a:p>
        </p:txBody>
      </p:sp>
      <p:pic>
        <p:nvPicPr>
          <p:cNvPr id="8" name="Imagen 7">
            <a:extLst>
              <a:ext uri="{FF2B5EF4-FFF2-40B4-BE49-F238E27FC236}">
                <a16:creationId xmlns:a16="http://schemas.microsoft.com/office/drawing/2014/main" id="{DDA7EA1A-C9BC-B629-B4A7-37B385321F29}"/>
              </a:ext>
            </a:extLst>
          </p:cNvPr>
          <p:cNvPicPr>
            <a:picLocks noChangeAspect="1"/>
          </p:cNvPicPr>
          <p:nvPr/>
        </p:nvPicPr>
        <p:blipFill>
          <a:blip r:embed="rId3"/>
          <a:stretch>
            <a:fillRect/>
          </a:stretch>
        </p:blipFill>
        <p:spPr>
          <a:xfrm>
            <a:off x="0" y="1825542"/>
            <a:ext cx="12191999" cy="4480022"/>
          </a:xfrm>
          <a:prstGeom prst="rect">
            <a:avLst/>
          </a:prstGeom>
        </p:spPr>
      </p:pic>
      <p:sp>
        <p:nvSpPr>
          <p:cNvPr id="9" name="Rectangle 33">
            <a:extLst>
              <a:ext uri="{FF2B5EF4-FFF2-40B4-BE49-F238E27FC236}">
                <a16:creationId xmlns:a16="http://schemas.microsoft.com/office/drawing/2014/main" id="{1B680334-E266-A8E1-1023-96FBC4FA6A58}"/>
              </a:ext>
            </a:extLst>
          </p:cNvPr>
          <p:cNvSpPr/>
          <p:nvPr/>
        </p:nvSpPr>
        <p:spPr>
          <a:xfrm>
            <a:off x="-12093" y="2533327"/>
            <a:ext cx="7270143" cy="3334073"/>
          </a:xfrm>
          <a:prstGeom prst="rect">
            <a:avLst/>
          </a:prstGeom>
          <a:solidFill>
            <a:schemeClr val="accent6">
              <a:lumMod val="40000"/>
              <a:lumOff val="60000"/>
            </a:schemeClr>
          </a:solidFill>
          <a:ln w="12700" cap="flat" cmpd="sng" algn="ctr">
            <a:noFill/>
            <a:prstDash val="dash"/>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s-ES" sz="2000" spc="140" dirty="0">
                <a:solidFill>
                  <a:schemeClr val="tx1">
                    <a:lumMod val="65000"/>
                    <a:lumOff val="35000"/>
                  </a:schemeClr>
                </a:solidFill>
                <a:latin typeface="Corbel"/>
              </a:rPr>
              <a:t>El Liderazgo Transformacional busca influir, motivar y desarrollar a los miembros de un Equipo, compartiéndoles una visión clara para lograr el cambio.</a:t>
            </a:r>
          </a:p>
          <a:p>
            <a:pPr>
              <a:defRPr/>
            </a:pPr>
            <a:r>
              <a:rPr lang="es-ES" sz="2000" spc="140" dirty="0">
                <a:solidFill>
                  <a:schemeClr val="tx1">
                    <a:lumMod val="65000"/>
                    <a:lumOff val="35000"/>
                  </a:schemeClr>
                </a:solidFill>
                <a:latin typeface="Corbel"/>
              </a:rPr>
              <a:t>Es quien fomenta un ambiente de trabajo comprometido, diverso  e inclusivo, donde logra acompañar a los miembros para obtener el Full </a:t>
            </a:r>
            <a:r>
              <a:rPr lang="es-ES" sz="2000" spc="140" dirty="0" err="1">
                <a:solidFill>
                  <a:schemeClr val="tx1">
                    <a:lumMod val="65000"/>
                    <a:lumOff val="35000"/>
                  </a:schemeClr>
                </a:solidFill>
                <a:latin typeface="Corbel"/>
              </a:rPr>
              <a:t>Potential</a:t>
            </a:r>
            <a:r>
              <a:rPr lang="es-ES" sz="2000" spc="140" dirty="0">
                <a:solidFill>
                  <a:schemeClr val="tx1">
                    <a:lumMod val="65000"/>
                    <a:lumOff val="35000"/>
                  </a:schemeClr>
                </a:solidFill>
                <a:latin typeface="Corbel"/>
              </a:rPr>
              <a:t> de cada uno, permitiendo alcanzar indicadores de Productividad altos dentro de una </a:t>
            </a:r>
            <a:r>
              <a:rPr lang="es-ES" sz="2000" spc="140" dirty="0" err="1">
                <a:solidFill>
                  <a:schemeClr val="tx1">
                    <a:lumMod val="65000"/>
                    <a:lumOff val="35000"/>
                  </a:schemeClr>
                </a:solidFill>
                <a:latin typeface="Corbel"/>
              </a:rPr>
              <a:t>organizacion</a:t>
            </a:r>
            <a:r>
              <a:rPr lang="es-ES" sz="2000" spc="140" dirty="0">
                <a:solidFill>
                  <a:schemeClr val="tx1">
                    <a:lumMod val="65000"/>
                    <a:lumOff val="35000"/>
                  </a:schemeClr>
                </a:solidFill>
                <a:latin typeface="Corbel"/>
              </a:rPr>
              <a:t>.</a:t>
            </a:r>
          </a:p>
          <a:p>
            <a:pPr>
              <a:defRPr/>
            </a:pPr>
            <a:r>
              <a:rPr lang="es-ES" sz="2000" spc="140" dirty="0">
                <a:solidFill>
                  <a:schemeClr val="tx1">
                    <a:lumMod val="65000"/>
                    <a:lumOff val="35000"/>
                  </a:schemeClr>
                </a:solidFill>
                <a:latin typeface="Corbel"/>
              </a:rPr>
              <a:t>Este Liderazgo ganador logra no solo el crecimiento personal de los miembros del Equipo, sino también el crecimiento de la organizacional</a:t>
            </a:r>
            <a:endParaRPr lang="en-US" sz="2000" spc="140" dirty="0">
              <a:solidFill>
                <a:schemeClr val="tx1">
                  <a:lumMod val="65000"/>
                  <a:lumOff val="35000"/>
                </a:schemeClr>
              </a:solidFill>
              <a:latin typeface="Corbel"/>
            </a:endParaRPr>
          </a:p>
        </p:txBody>
      </p:sp>
      <p:sp>
        <p:nvSpPr>
          <p:cNvPr id="11" name="Isosceles Triangle 10">
            <a:extLst>
              <a:ext uri="{FF2B5EF4-FFF2-40B4-BE49-F238E27FC236}">
                <a16:creationId xmlns:a16="http://schemas.microsoft.com/office/drawing/2014/main" id="{1C9E6A78-0401-FE26-0840-D9109C9A4469}"/>
              </a:ext>
            </a:extLst>
          </p:cNvPr>
          <p:cNvSpPr/>
          <p:nvPr/>
        </p:nvSpPr>
        <p:spPr>
          <a:xfrm rot="5400000" flipH="1">
            <a:off x="5770411" y="4116032"/>
            <a:ext cx="3334073" cy="230420"/>
          </a:xfrm>
          <a:prstGeom prst="triangle">
            <a:avLst/>
          </a:prstGeom>
          <a:solidFill>
            <a:schemeClr val="accent6">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CR"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3" name="CuadroTexto 12">
            <a:extLst>
              <a:ext uri="{FF2B5EF4-FFF2-40B4-BE49-F238E27FC236}">
                <a16:creationId xmlns:a16="http://schemas.microsoft.com/office/drawing/2014/main" id="{1B891B18-6585-DA27-8E6D-756BCF67D89F}"/>
              </a:ext>
            </a:extLst>
          </p:cNvPr>
          <p:cNvSpPr txBox="1"/>
          <p:nvPr/>
        </p:nvSpPr>
        <p:spPr>
          <a:xfrm rot="888454">
            <a:off x="7923530" y="713349"/>
            <a:ext cx="4165674" cy="861774"/>
          </a:xfrm>
          <a:prstGeom prst="rect">
            <a:avLst/>
          </a:prstGeom>
          <a:noFill/>
        </p:spPr>
        <p:txBody>
          <a:bodyPr wrap="square">
            <a:spAutoFit/>
          </a:bodyPr>
          <a:lstStyle/>
          <a:p>
            <a:pPr algn="ctr"/>
            <a:r>
              <a:rPr lang="es-ES" sz="3200" b="1" dirty="0">
                <a:solidFill>
                  <a:schemeClr val="bg1"/>
                </a:solidFill>
                <a:highlight>
                  <a:srgbClr val="FF0000"/>
                </a:highlight>
                <a:latin typeface="-apple-system"/>
              </a:rPr>
              <a:t>COMPLETAR</a:t>
            </a:r>
          </a:p>
          <a:p>
            <a:pPr algn="ctr"/>
            <a:endParaRPr lang="es-ES" dirty="0"/>
          </a:p>
        </p:txBody>
      </p:sp>
      <p:pic>
        <p:nvPicPr>
          <p:cNvPr id="14" name="Picture 19">
            <a:extLst>
              <a:ext uri="{FF2B5EF4-FFF2-40B4-BE49-F238E27FC236}">
                <a16:creationId xmlns:a16="http://schemas.microsoft.com/office/drawing/2014/main" id="{156D3CB6-8BAF-53B3-AB93-2882A326EBA9}"/>
              </a:ext>
            </a:extLst>
          </p:cNvPr>
          <p:cNvPicPr>
            <a:picLocks noChangeAspect="1"/>
          </p:cNvPicPr>
          <p:nvPr/>
        </p:nvPicPr>
        <p:blipFill>
          <a:blip r:embed="rId4"/>
          <a:stretch>
            <a:fillRect/>
          </a:stretch>
        </p:blipFill>
        <p:spPr>
          <a:xfrm>
            <a:off x="8596451" y="3057842"/>
            <a:ext cx="2397535" cy="2222880"/>
          </a:xfrm>
          <a:prstGeom prst="rect">
            <a:avLst/>
          </a:prstGeom>
          <a:solidFill>
            <a:srgbClr val="E7E6E6"/>
          </a:solidFill>
          <a:ln w="76200">
            <a:noFill/>
          </a:ln>
        </p:spPr>
      </p:pic>
      <p:pic>
        <p:nvPicPr>
          <p:cNvPr id="16" name="Imagen 15">
            <a:extLst>
              <a:ext uri="{FF2B5EF4-FFF2-40B4-BE49-F238E27FC236}">
                <a16:creationId xmlns:a16="http://schemas.microsoft.com/office/drawing/2014/main" id="{62461353-15D9-3F83-A8A3-28F28E59C6BA}"/>
              </a:ext>
            </a:extLst>
          </p:cNvPr>
          <p:cNvPicPr>
            <a:picLocks noChangeAspect="1"/>
          </p:cNvPicPr>
          <p:nvPr/>
        </p:nvPicPr>
        <p:blipFill>
          <a:blip r:embed="rId5"/>
          <a:stretch>
            <a:fillRect/>
          </a:stretch>
        </p:blipFill>
        <p:spPr>
          <a:xfrm>
            <a:off x="9953625" y="5285068"/>
            <a:ext cx="2238374" cy="1477416"/>
          </a:xfrm>
          <a:prstGeom prst="rect">
            <a:avLst/>
          </a:prstGeom>
        </p:spPr>
      </p:pic>
    </p:spTree>
    <p:extLst>
      <p:ext uri="{BB962C8B-B14F-4D97-AF65-F5344CB8AC3E}">
        <p14:creationId xmlns:p14="http://schemas.microsoft.com/office/powerpoint/2010/main" val="18973071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886EAE91-0C47-3300-07E9-80C7B58AD0E3}"/>
              </a:ext>
            </a:extLst>
          </p:cNvPr>
          <p:cNvSpPr txBox="1">
            <a:spLocks/>
          </p:cNvSpPr>
          <p:nvPr/>
        </p:nvSpPr>
        <p:spPr>
          <a:xfrm>
            <a:off x="75222" y="-85689"/>
            <a:ext cx="12732126" cy="10541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rgbClr val="10069F"/>
                </a:solidFill>
                <a:latin typeface="+mj-lt"/>
                <a:ea typeface="Arial Black" panose="020B060402020202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10069F"/>
                </a:solidFill>
                <a:effectLst/>
                <a:uLnTx/>
                <a:uFillTx/>
                <a:latin typeface="Arial" panose="020B0604020202020204"/>
                <a:sym typeface="Arial"/>
              </a:rPr>
              <a:t>Team Profile</a:t>
            </a:r>
          </a:p>
        </p:txBody>
      </p:sp>
      <p:sp>
        <p:nvSpPr>
          <p:cNvPr id="45" name="Rectángulo 44">
            <a:extLst>
              <a:ext uri="{FF2B5EF4-FFF2-40B4-BE49-F238E27FC236}">
                <a16:creationId xmlns:a16="http://schemas.microsoft.com/office/drawing/2014/main" id="{72A83B7D-6C70-DD1C-B2C8-D4102747B73F}"/>
              </a:ext>
            </a:extLst>
          </p:cNvPr>
          <p:cNvSpPr/>
          <p:nvPr/>
        </p:nvSpPr>
        <p:spPr>
          <a:xfrm>
            <a:off x="25074" y="843857"/>
            <a:ext cx="12141852" cy="482129"/>
          </a:xfrm>
          <a:prstGeom prst="rect">
            <a:avLst/>
          </a:prstGeom>
          <a:solidFill>
            <a:srgbClr val="10069F"/>
          </a:solidFill>
          <a:ln w="12700" cap="flat" cmpd="sng" algn="ctr">
            <a:solidFill>
              <a:srgbClr val="33D196"/>
            </a:solidFill>
            <a:prstDash val="dash"/>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rPr>
              <a:t>HIGHT PERFORMANCE T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1" u="none" strike="noStrike" kern="0" cap="none" spc="0" normalizeH="0" baseline="0" noProof="0" dirty="0" err="1">
                <a:ln>
                  <a:noFill/>
                </a:ln>
                <a:solidFill>
                  <a:prstClr val="white"/>
                </a:solidFill>
                <a:effectLst/>
                <a:uLnTx/>
                <a:uFillTx/>
                <a:latin typeface="Arial" panose="020B0604020202020204"/>
                <a:ea typeface="+mn-ea"/>
                <a:cs typeface="72 Black" panose="020B0A04030603020204" pitchFamily="34" charset="0"/>
              </a:rPr>
              <a:t>Leading</a:t>
            </a:r>
            <a:r>
              <a:rPr kumimoji="0" lang="es-AR" sz="1400" b="0" i="1"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rPr>
              <a:t> </a:t>
            </a:r>
            <a:r>
              <a:rPr kumimoji="0" lang="es-AR" sz="1400" b="0" i="1" u="none" strike="noStrike" kern="0" cap="none" spc="0" normalizeH="0" baseline="0" noProof="0" dirty="0" err="1">
                <a:ln>
                  <a:noFill/>
                </a:ln>
                <a:solidFill>
                  <a:prstClr val="white"/>
                </a:solidFill>
                <a:effectLst/>
                <a:uLnTx/>
                <a:uFillTx/>
                <a:latin typeface="Arial" panose="020B0604020202020204"/>
                <a:ea typeface="+mn-ea"/>
                <a:cs typeface="72 Black" panose="020B0A04030603020204" pitchFamily="34" charset="0"/>
              </a:rPr>
              <a:t>the</a:t>
            </a:r>
            <a:r>
              <a:rPr kumimoji="0" lang="es-AR" sz="1400" b="0" i="1"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rPr>
              <a:t> </a:t>
            </a:r>
            <a:r>
              <a:rPr kumimoji="0" lang="es-AR" sz="1400" b="0" i="1" u="none" strike="noStrike" kern="0" cap="none" spc="0" normalizeH="0" baseline="0" noProof="0" dirty="0" err="1">
                <a:ln>
                  <a:noFill/>
                </a:ln>
                <a:solidFill>
                  <a:prstClr val="white"/>
                </a:solidFill>
                <a:effectLst/>
                <a:uLnTx/>
                <a:uFillTx/>
                <a:latin typeface="Arial" panose="020B0604020202020204"/>
                <a:ea typeface="+mn-ea"/>
                <a:cs typeface="72 Black" panose="020B0A04030603020204" pitchFamily="34" charset="0"/>
              </a:rPr>
              <a:t>transforation</a:t>
            </a:r>
            <a:endParaRPr kumimoji="0" lang="es-AR" sz="1400" b="0" i="1" u="none" strike="noStrike" kern="0" cap="none" spc="0" normalizeH="0" baseline="0" noProof="0" dirty="0">
              <a:ln>
                <a:noFill/>
              </a:ln>
              <a:solidFill>
                <a:prstClr val="white"/>
              </a:solidFill>
              <a:effectLst/>
              <a:uLnTx/>
              <a:uFillTx/>
              <a:latin typeface="Arial" panose="020B0604020202020204"/>
              <a:ea typeface="+mn-ea"/>
              <a:cs typeface="72 Black" panose="020B0A04030603020204" pitchFamily="34" charset="0"/>
            </a:endParaRPr>
          </a:p>
        </p:txBody>
      </p:sp>
      <p:sp>
        <p:nvSpPr>
          <p:cNvPr id="60" name="Rectángulo 59">
            <a:extLst>
              <a:ext uri="{FF2B5EF4-FFF2-40B4-BE49-F238E27FC236}">
                <a16:creationId xmlns:a16="http://schemas.microsoft.com/office/drawing/2014/main" id="{C5B13B58-FAA4-1327-9374-4A9011A0708D}"/>
              </a:ext>
            </a:extLst>
          </p:cNvPr>
          <p:cNvSpPr/>
          <p:nvPr/>
        </p:nvSpPr>
        <p:spPr>
          <a:xfrm>
            <a:off x="0" y="1367083"/>
            <a:ext cx="12192000" cy="4895394"/>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CuadroTexto 60">
            <a:extLst>
              <a:ext uri="{FF2B5EF4-FFF2-40B4-BE49-F238E27FC236}">
                <a16:creationId xmlns:a16="http://schemas.microsoft.com/office/drawing/2014/main" id="{DC3D1881-FC91-E340-BA07-88858AD6F2FE}"/>
              </a:ext>
            </a:extLst>
          </p:cNvPr>
          <p:cNvSpPr txBox="1"/>
          <p:nvPr/>
        </p:nvSpPr>
        <p:spPr>
          <a:xfrm>
            <a:off x="3452242" y="3278048"/>
            <a:ext cx="61087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62" name="TextBox 102">
            <a:extLst>
              <a:ext uri="{FF2B5EF4-FFF2-40B4-BE49-F238E27FC236}">
                <a16:creationId xmlns:a16="http://schemas.microsoft.com/office/drawing/2014/main" id="{91EF3339-EF24-E84A-DB78-BAC779BAE365}"/>
              </a:ext>
            </a:extLst>
          </p:cNvPr>
          <p:cNvSpPr txBox="1"/>
          <p:nvPr/>
        </p:nvSpPr>
        <p:spPr>
          <a:xfrm>
            <a:off x="1444149" y="1784633"/>
            <a:ext cx="171500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Sales</a:t>
            </a:r>
          </a:p>
        </p:txBody>
      </p:sp>
      <p:sp>
        <p:nvSpPr>
          <p:cNvPr id="63" name="Rectangle 33">
            <a:extLst>
              <a:ext uri="{FF2B5EF4-FFF2-40B4-BE49-F238E27FC236}">
                <a16:creationId xmlns:a16="http://schemas.microsoft.com/office/drawing/2014/main" id="{1DC6AB99-51C1-8E7F-56DD-04059420DD49}"/>
              </a:ext>
            </a:extLst>
          </p:cNvPr>
          <p:cNvSpPr/>
          <p:nvPr/>
        </p:nvSpPr>
        <p:spPr>
          <a:xfrm>
            <a:off x="75222" y="1449727"/>
            <a:ext cx="3692551" cy="4700868"/>
          </a:xfrm>
          <a:prstGeom prst="rect">
            <a:avLst/>
          </a:prstGeom>
          <a:solidFill>
            <a:srgbClr val="10069F"/>
          </a:solidFill>
          <a:ln w="12700" cap="flat" cmpd="sng" algn="ctr">
            <a:solidFill>
              <a:srgbClr val="00B050"/>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64" name="CuadroTexto 63">
            <a:extLst>
              <a:ext uri="{FF2B5EF4-FFF2-40B4-BE49-F238E27FC236}">
                <a16:creationId xmlns:a16="http://schemas.microsoft.com/office/drawing/2014/main" id="{A19187B6-F4AF-EF56-4248-02F6E1E54C84}"/>
              </a:ext>
            </a:extLst>
          </p:cNvPr>
          <p:cNvSpPr txBox="1"/>
          <p:nvPr/>
        </p:nvSpPr>
        <p:spPr>
          <a:xfrm>
            <a:off x="230391" y="1620124"/>
            <a:ext cx="3480860" cy="4530471"/>
          </a:xfrm>
          <a:prstGeom prst="rect">
            <a:avLst/>
          </a:prstGeom>
          <a:noFill/>
          <a:ln w="3175">
            <a:noFill/>
          </a:ln>
        </p:spPr>
        <p:txBody>
          <a:bodyPr wrap="square">
            <a:spAutoFit/>
          </a:bodyPr>
          <a:lstStyle/>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sym typeface="Arial"/>
              </a:rPr>
              <a:t>SENIOR SPECIALISTS</a:t>
            </a:r>
          </a:p>
          <a:p>
            <a:pPr marL="0" marR="0" lvl="1" indent="0" algn="l" defTabSz="914400" rtl="0" eaLnBrk="1" fontAlgn="auto" latinLnBrk="0" hangingPunct="1">
              <a:lnSpc>
                <a:spcPct val="90000"/>
              </a:lnSpc>
              <a:spcBef>
                <a:spcPts val="0"/>
              </a:spcBef>
              <a:spcAft>
                <a:spcPts val="0"/>
              </a:spcAft>
              <a:buClr>
                <a:srgbClr val="00B050"/>
              </a:buClr>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Regional knowled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err="1">
                <a:ln>
                  <a:noFill/>
                </a:ln>
                <a:solidFill>
                  <a:prstClr val="white"/>
                </a:solidFill>
                <a:effectLst/>
                <a:uLnTx/>
                <a:uFillTx/>
                <a:latin typeface="72" panose="020B0503030000000003" pitchFamily="34" charset="0"/>
                <a:ea typeface="+mn-ea"/>
                <a:cs typeface="72" panose="020B0503030000000003" pitchFamily="34" charset="0"/>
              </a:rPr>
              <a:t>TeamWork</a:t>
            </a: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Integr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PMO (Coordinates and Manages Projects, guaranteeing standardization and taking advantage of resources, technology/Tools and correct and timely commun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Networ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Seniority/Experti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E2E Vi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Analytics Vi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Metrics Standardiz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Tools Management/ knowled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white"/>
                </a:solidFill>
                <a:effectLst/>
                <a:uLnTx/>
                <a:uFillTx/>
                <a:latin typeface="72" panose="020B0503030000000003" pitchFamily="34" charset="0"/>
                <a:ea typeface="+mn-ea"/>
                <a:cs typeface="72" panose="020B0503030000000003" pitchFamily="34" charset="0"/>
              </a:rPr>
              <a:t>Creative and Innovation profile</a:t>
            </a:r>
          </a:p>
        </p:txBody>
      </p:sp>
      <p:sp>
        <p:nvSpPr>
          <p:cNvPr id="65" name="Rectangle 33">
            <a:extLst>
              <a:ext uri="{FF2B5EF4-FFF2-40B4-BE49-F238E27FC236}">
                <a16:creationId xmlns:a16="http://schemas.microsoft.com/office/drawing/2014/main" id="{F4104495-05D2-F883-F736-B954EF8E515E}"/>
              </a:ext>
            </a:extLst>
          </p:cNvPr>
          <p:cNvSpPr/>
          <p:nvPr/>
        </p:nvSpPr>
        <p:spPr>
          <a:xfrm>
            <a:off x="4273462" y="1449726"/>
            <a:ext cx="3692551" cy="4700867"/>
          </a:xfrm>
          <a:prstGeom prst="rect">
            <a:avLst/>
          </a:prstGeom>
          <a:solidFill>
            <a:srgbClr val="10069F"/>
          </a:solidFill>
          <a:ln w="12700" cap="flat" cmpd="sng" algn="ctr">
            <a:solidFill>
              <a:srgbClr val="00B050"/>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66" name="Rectangle 33">
            <a:extLst>
              <a:ext uri="{FF2B5EF4-FFF2-40B4-BE49-F238E27FC236}">
                <a16:creationId xmlns:a16="http://schemas.microsoft.com/office/drawing/2014/main" id="{F8356404-395A-4F1E-951C-EA2B604CBE56}"/>
              </a:ext>
            </a:extLst>
          </p:cNvPr>
          <p:cNvSpPr/>
          <p:nvPr/>
        </p:nvSpPr>
        <p:spPr>
          <a:xfrm>
            <a:off x="8412802" y="1449726"/>
            <a:ext cx="3692551" cy="4700867"/>
          </a:xfrm>
          <a:prstGeom prst="rect">
            <a:avLst/>
          </a:prstGeom>
          <a:solidFill>
            <a:srgbClr val="10069F"/>
          </a:solidFill>
          <a:ln w="12700" cap="flat" cmpd="sng" algn="ctr">
            <a:solidFill>
              <a:srgbClr val="00B050"/>
            </a:solidFill>
            <a:prstDash val="dash"/>
            <a:miter lim="800000"/>
          </a:ln>
          <a:effectLst/>
        </p:spPr>
        <p:txBody>
          <a:bodyPr rtlCol="0" anchor="ctr"/>
          <a:lstStyle/>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ES" sz="4000" b="1" i="0" u="none" strike="noStrike" kern="1200" cap="none" spc="0" normalizeH="0" baseline="0" noProof="0" dirty="0">
                <a:ln>
                  <a:noFill/>
                </a:ln>
                <a:solidFill>
                  <a:prstClr val="white"/>
                </a:solidFill>
                <a:effectLst/>
                <a:uLnTx/>
                <a:uFillTx/>
                <a:latin typeface="Calibri" panose="020F0502020204030204"/>
                <a:ea typeface="+mn-ea"/>
                <a:cs typeface="+mn-cs"/>
              </a:rPr>
              <a:t>ACHIEVING</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ES" sz="4000" b="1" i="0" u="none" strike="noStrike" kern="1200" cap="none" spc="0" normalizeH="0" baseline="0" noProof="0" dirty="0">
                <a:ln>
                  <a:noFill/>
                </a:ln>
                <a:solidFill>
                  <a:prstClr val="white"/>
                </a:solidFill>
                <a:effectLst/>
                <a:uLnTx/>
                <a:uFillTx/>
                <a:latin typeface="Calibri" panose="020F0502020204030204"/>
                <a:ea typeface="+mn-ea"/>
                <a:cs typeface="+mn-cs"/>
              </a:rPr>
              <a:t>CHALLENGING</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ES" sz="4000" b="1" i="0" u="none" strike="noStrike" kern="1200" cap="none" spc="0" normalizeH="0" baseline="0" noProof="0" dirty="0">
                <a:ln>
                  <a:noFill/>
                </a:ln>
                <a:solidFill>
                  <a:prstClr val="white"/>
                </a:solidFill>
                <a:effectLst/>
                <a:uLnTx/>
                <a:uFillTx/>
                <a:latin typeface="Calibri" panose="020F0502020204030204"/>
                <a:ea typeface="+mn-ea"/>
                <a:cs typeface="+mn-cs"/>
              </a:rPr>
              <a:t>GOALS</a:t>
            </a:r>
          </a:p>
        </p:txBody>
      </p:sp>
      <p:sp>
        <p:nvSpPr>
          <p:cNvPr id="67" name="CuadroTexto 66">
            <a:extLst>
              <a:ext uri="{FF2B5EF4-FFF2-40B4-BE49-F238E27FC236}">
                <a16:creationId xmlns:a16="http://schemas.microsoft.com/office/drawing/2014/main" id="{9416EF77-B1D3-4602-F3B4-6EF9F24628FB}"/>
              </a:ext>
            </a:extLst>
          </p:cNvPr>
          <p:cNvSpPr txBox="1"/>
          <p:nvPr/>
        </p:nvSpPr>
        <p:spPr>
          <a:xfrm>
            <a:off x="4355570" y="2901419"/>
            <a:ext cx="3480860" cy="1754326"/>
          </a:xfrm>
          <a:prstGeom prst="rect">
            <a:avLst/>
          </a:prstGeom>
          <a:noFill/>
        </p:spPr>
        <p:txBody>
          <a:bodyPr wrap="square">
            <a:spAutoFit/>
          </a:bodyPr>
          <a:lstStyle/>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AR" sz="4000" b="1" i="0" u="none" strike="noStrike" kern="1200" cap="none" spc="0" normalizeH="0" baseline="0" noProof="0" dirty="0">
                <a:ln>
                  <a:noFill/>
                </a:ln>
                <a:solidFill>
                  <a:prstClr val="white"/>
                </a:solidFill>
                <a:effectLst/>
                <a:uLnTx/>
                <a:uFillTx/>
                <a:latin typeface="Calibri" panose="020F0502020204030204"/>
                <a:ea typeface="+mn-ea"/>
                <a:cs typeface="+mn-cs"/>
              </a:rPr>
              <a:t>FOCUS </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AR" sz="4000" b="1" i="0" u="none" strike="noStrike" kern="1200" cap="none" spc="0" normalizeH="0" baseline="0" noProof="0" dirty="0">
                <a:ln>
                  <a:noFill/>
                </a:ln>
                <a:solidFill>
                  <a:prstClr val="white"/>
                </a:solidFill>
                <a:effectLst/>
                <a:uLnTx/>
                <a:uFillTx/>
                <a:latin typeface="Calibri" panose="020F0502020204030204"/>
                <a:ea typeface="+mn-ea"/>
                <a:cs typeface="+mn-cs"/>
              </a:rPr>
              <a:t>ON </a:t>
            </a:r>
          </a:p>
          <a:p>
            <a:pPr marL="0" marR="0" lvl="1" indent="0" algn="ctr" defTabSz="914400" rtl="0" eaLnBrk="1" fontAlgn="auto" latinLnBrk="0" hangingPunct="1">
              <a:lnSpc>
                <a:spcPct val="90000"/>
              </a:lnSpc>
              <a:spcBef>
                <a:spcPts val="0"/>
              </a:spcBef>
              <a:spcAft>
                <a:spcPts val="0"/>
              </a:spcAft>
              <a:buClr>
                <a:srgbClr val="00B050"/>
              </a:buClr>
              <a:buSzTx/>
              <a:buFontTx/>
              <a:buNone/>
              <a:tabLst/>
              <a:defRPr/>
            </a:pPr>
            <a:r>
              <a:rPr kumimoji="0" lang="es-AR" sz="4000" b="1" i="0" u="none" strike="noStrike" kern="1200" cap="none" spc="0" normalizeH="0" baseline="0" noProof="0" dirty="0">
                <a:ln>
                  <a:noFill/>
                </a:ln>
                <a:solidFill>
                  <a:prstClr val="white"/>
                </a:solidFill>
                <a:effectLst/>
                <a:uLnTx/>
                <a:uFillTx/>
                <a:latin typeface="Calibri" panose="020F0502020204030204"/>
                <a:ea typeface="+mn-ea"/>
                <a:cs typeface="+mn-cs"/>
              </a:rPr>
              <a:t>PRIORITIES </a:t>
            </a:r>
            <a:endParaRPr kumimoji="0" lang="en-US" sz="4000" b="1"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68" name="Signo más 67">
            <a:extLst>
              <a:ext uri="{FF2B5EF4-FFF2-40B4-BE49-F238E27FC236}">
                <a16:creationId xmlns:a16="http://schemas.microsoft.com/office/drawing/2014/main" id="{F000F177-CE1E-5125-0361-C85164F854D2}"/>
              </a:ext>
            </a:extLst>
          </p:cNvPr>
          <p:cNvSpPr/>
          <p:nvPr/>
        </p:nvSpPr>
        <p:spPr>
          <a:xfrm>
            <a:off x="3764283" y="3406315"/>
            <a:ext cx="518018" cy="571627"/>
          </a:xfrm>
          <a:prstGeom prst="mathPlus">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Es igual a 68">
            <a:extLst>
              <a:ext uri="{FF2B5EF4-FFF2-40B4-BE49-F238E27FC236}">
                <a16:creationId xmlns:a16="http://schemas.microsoft.com/office/drawing/2014/main" id="{A4FBF41C-2C67-8A30-0126-D86EE941CBFE}"/>
              </a:ext>
            </a:extLst>
          </p:cNvPr>
          <p:cNvSpPr/>
          <p:nvPr/>
        </p:nvSpPr>
        <p:spPr>
          <a:xfrm>
            <a:off x="7957503" y="3401999"/>
            <a:ext cx="434581" cy="519555"/>
          </a:xfrm>
          <a:prstGeom prst="mathEqual">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70" name="Conector recto 69">
            <a:extLst>
              <a:ext uri="{FF2B5EF4-FFF2-40B4-BE49-F238E27FC236}">
                <a16:creationId xmlns:a16="http://schemas.microsoft.com/office/drawing/2014/main" id="{CD3C91B5-03C2-8224-29C8-33652BBB9577}"/>
              </a:ext>
            </a:extLst>
          </p:cNvPr>
          <p:cNvCxnSpPr/>
          <p:nvPr/>
        </p:nvCxnSpPr>
        <p:spPr>
          <a:xfrm>
            <a:off x="53956" y="1999899"/>
            <a:ext cx="36925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4134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Marcador de contenido 3">
            <a:extLst>
              <a:ext uri="{FF2B5EF4-FFF2-40B4-BE49-F238E27FC236}">
                <a16:creationId xmlns:a16="http://schemas.microsoft.com/office/drawing/2014/main" id="{726E1A6B-3337-1A25-B464-002CAE9A8758}"/>
              </a:ext>
            </a:extLst>
          </p:cNvPr>
          <p:cNvSpPr txBox="1">
            <a:spLocks/>
          </p:cNvSpPr>
          <p:nvPr/>
        </p:nvSpPr>
        <p:spPr>
          <a:xfrm>
            <a:off x="432000" y="2668686"/>
            <a:ext cx="5472000" cy="2999426"/>
          </a:xfrm>
          <a:prstGeom prst="rect">
            <a:avLst/>
          </a:prstGeom>
        </p:spPr>
        <p:txBody>
          <a:bodyPr vert="horz" lIns="0" tIns="0" rIns="0" bIns="0" rtlCol="0" anchor="b">
            <a:noAutofit/>
          </a:bodyPr>
          <a:lst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2800" b="0" i="0" u="none" strike="noStrike" kern="1200" cap="none" spc="0" normalizeH="0" baseline="0" noProof="0">
                <a:ln>
                  <a:noFill/>
                </a:ln>
                <a:solidFill>
                  <a:sysClr val="windowText" lastClr="000000">
                    <a:lumMod val="75000"/>
                    <a:lumOff val="25000"/>
                  </a:sysClr>
                </a:solidFill>
                <a:effectLst/>
                <a:uLnTx/>
                <a:uFillTx/>
                <a:latin typeface="Candara"/>
                <a:ea typeface="+mn-ea"/>
                <a:cs typeface="+mn-cs"/>
              </a:rPr>
              <a:t>Connie Clark</a:t>
            </a:r>
          </a:p>
          <a:p>
            <a:pPr marL="266700" marR="0" lvl="0" indent="-2667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s-ES" sz="1800" b="0" i="0" u="none" strike="noStrike" kern="1200" cap="none" spc="0" normalizeH="0" baseline="0" noProof="0">
                <a:ln>
                  <a:noFill/>
                </a:ln>
                <a:solidFill>
                  <a:sysClr val="windowText" lastClr="000000">
                    <a:lumMod val="75000"/>
                    <a:lumOff val="25000"/>
                  </a:sysClr>
                </a:solidFill>
                <a:effectLst/>
                <a:uLnTx/>
                <a:uFillTx/>
                <a:latin typeface="Candara"/>
                <a:ea typeface="+mn-ea"/>
                <a:cs typeface="+mn-cs"/>
              </a:rPr>
              <a:t>XXXXXXXXUt fermentum a magna ut eleifend. Integer convallis suscipit ante eu varius. </a:t>
            </a:r>
          </a:p>
          <a:p>
            <a:pPr marL="266700" marR="0" lvl="0" indent="-2667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s-ES" sz="1800" b="0" i="0" u="none" strike="noStrike" kern="1200" cap="none" spc="0" normalizeH="0" baseline="0" noProof="0">
                <a:ln>
                  <a:noFill/>
                </a:ln>
                <a:solidFill>
                  <a:sysClr val="windowText" lastClr="000000">
                    <a:lumMod val="75000"/>
                    <a:lumOff val="25000"/>
                  </a:sysClr>
                </a:solidFill>
                <a:effectLst/>
                <a:uLnTx/>
                <a:uFillTx/>
                <a:latin typeface="Candara"/>
                <a:ea typeface="+mn-ea"/>
                <a:cs typeface="+mn-cs"/>
              </a:rPr>
              <a:t>XXXXXX</a:t>
            </a:r>
          </a:p>
          <a:p>
            <a:pPr marL="266700" marR="0" lvl="0" indent="-2667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s-ES" sz="1800" b="0" i="0" u="none" strike="noStrike" kern="1200" cap="none" spc="0" normalizeH="0" baseline="0" noProof="0">
                <a:ln>
                  <a:noFill/>
                </a:ln>
                <a:solidFill>
                  <a:sysClr val="windowText" lastClr="000000">
                    <a:lumMod val="75000"/>
                    <a:lumOff val="25000"/>
                  </a:sysClr>
                </a:solidFill>
                <a:effectLst/>
                <a:uLnTx/>
                <a:uFillTx/>
                <a:latin typeface="Candara"/>
                <a:ea typeface="+mn-ea"/>
                <a:cs typeface="+mn-cs"/>
              </a:rPr>
              <a:t>XXX</a:t>
            </a:r>
            <a:endParaRPr kumimoji="0" lang="es-ES" sz="1800" b="0" i="0" u="none" strike="noStrike" kern="1200" cap="none" spc="0" normalizeH="0" baseline="0" noProof="0" dirty="0">
              <a:ln>
                <a:noFill/>
              </a:ln>
              <a:solidFill>
                <a:sysClr val="windowText" lastClr="000000">
                  <a:lumMod val="75000"/>
                  <a:lumOff val="25000"/>
                </a:sysClr>
              </a:solidFill>
              <a:effectLst/>
              <a:uLnTx/>
              <a:uFillTx/>
              <a:latin typeface="Candara"/>
              <a:ea typeface="+mn-ea"/>
              <a:cs typeface="+mn-cs"/>
            </a:endParaRPr>
          </a:p>
        </p:txBody>
      </p:sp>
      <p:pic>
        <p:nvPicPr>
          <p:cNvPr id="17" name="Marcador de posición de imagen 8" descr="Una mano tocando un teléfono móvil">
            <a:extLst>
              <a:ext uri="{FF2B5EF4-FFF2-40B4-BE49-F238E27FC236}">
                <a16:creationId xmlns:a16="http://schemas.microsoft.com/office/drawing/2014/main" id="{7530030D-FAEB-E8E8-4ACB-1B6F2B5103DB}"/>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6183465" y="432000"/>
            <a:ext cx="6096000" cy="6371351"/>
          </a:xfrm>
          <a:prstGeom prst="rect">
            <a:avLst/>
          </a:prstGeom>
          <a:solidFill>
            <a:srgbClr val="FFFFFF">
              <a:lumMod val="95000"/>
            </a:srgbClr>
          </a:solidFill>
        </p:spPr>
      </p:pic>
      <p:sp>
        <p:nvSpPr>
          <p:cNvPr id="18" name="Rectángulo 17" descr="Bloque de énfasis">
            <a:extLst>
              <a:ext uri="{FF2B5EF4-FFF2-40B4-BE49-F238E27FC236}">
                <a16:creationId xmlns:a16="http://schemas.microsoft.com/office/drawing/2014/main" id="{BED6F328-BD71-C108-B64C-2ACCBEA83428}"/>
              </a:ext>
              <a:ext uri="{C183D7F6-B498-43B3-948B-1728B52AA6E4}">
                <adec:decorative xmlns:adec="http://schemas.microsoft.com/office/drawing/2017/decorative" val="1"/>
              </a:ext>
            </a:extLst>
          </p:cNvPr>
          <p:cNvSpPr/>
          <p:nvPr/>
        </p:nvSpPr>
        <p:spPr>
          <a:xfrm>
            <a:off x="9348588" y="3688075"/>
            <a:ext cx="2411412" cy="114824"/>
          </a:xfrm>
          <a:prstGeom prst="rect">
            <a:avLst/>
          </a:prstGeom>
          <a:solidFill>
            <a:srgbClr val="25C6E3"/>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Candara"/>
              <a:ea typeface="+mn-ea"/>
              <a:cs typeface="+mn-cs"/>
            </a:endParaRPr>
          </a:p>
        </p:txBody>
      </p:sp>
      <p:sp>
        <p:nvSpPr>
          <p:cNvPr id="19" name="Título 1">
            <a:extLst>
              <a:ext uri="{FF2B5EF4-FFF2-40B4-BE49-F238E27FC236}">
                <a16:creationId xmlns:a16="http://schemas.microsoft.com/office/drawing/2014/main" id="{9C549A8B-4FCA-F13A-C28C-38EB68B5E0C8}"/>
              </a:ext>
            </a:extLst>
          </p:cNvPr>
          <p:cNvSpPr txBox="1">
            <a:spLocks/>
          </p:cNvSpPr>
          <p:nvPr/>
        </p:nvSpPr>
        <p:spPr>
          <a:xfrm>
            <a:off x="7111800" y="3802899"/>
            <a:ext cx="4648200" cy="985000"/>
          </a:xfrm>
          <a:prstGeom prst="rect">
            <a:avLst/>
          </a:prstGeom>
          <a:solidFill>
            <a:srgbClr val="FFFFFF"/>
          </a:solidFill>
        </p:spPr>
        <p:txBody>
          <a:bodyPr vert="horz" lIns="180000" tIns="180000" rIns="180000" bIns="180000" rtlCol="0" anchor="ctr">
            <a:noAutofit/>
          </a:bodyPr>
          <a:lstStyle>
            <a:lvl1pPr algn="r" defTabSz="914400" rtl="0" eaLnBrk="1" latinLnBrk="0" hangingPunct="1">
              <a:lnSpc>
                <a:spcPct val="70000"/>
              </a:lnSpc>
              <a:spcBef>
                <a:spcPct val="0"/>
              </a:spcBef>
              <a:buNone/>
              <a:defRPr sz="3800" b="1" kern="1200" spc="-300">
                <a:solidFill>
                  <a:schemeClr val="tx1">
                    <a:lumMod val="75000"/>
                    <a:lumOff val="25000"/>
                  </a:schemeClr>
                </a:solidFill>
                <a:latin typeface="+mj-lt"/>
                <a:ea typeface="+mj-ea"/>
                <a:cs typeface="+mj-cs"/>
              </a:defRPr>
            </a:lvl1pPr>
          </a:lstStyle>
          <a:p>
            <a:pPr marL="0" marR="0" lvl="0" indent="0" algn="r" defTabSz="914400" rtl="0" eaLnBrk="1" fontAlgn="auto" latinLnBrk="0" hangingPunct="1">
              <a:lnSpc>
                <a:spcPct val="70000"/>
              </a:lnSpc>
              <a:spcBef>
                <a:spcPct val="0"/>
              </a:spcBef>
              <a:spcAft>
                <a:spcPts val="0"/>
              </a:spcAft>
              <a:buClrTx/>
              <a:buSzTx/>
              <a:buFontTx/>
              <a:buNone/>
              <a:tabLst/>
              <a:defRPr/>
            </a:pPr>
            <a:r>
              <a:rPr kumimoji="0" lang="es-ES" sz="5200" b="1" i="0" u="none" strike="noStrike" kern="1200" cap="none" spc="-300" normalizeH="0" baseline="0" noProof="0">
                <a:ln>
                  <a:noFill/>
                </a:ln>
                <a:solidFill>
                  <a:sysClr val="windowText" lastClr="000000">
                    <a:lumMod val="75000"/>
                    <a:lumOff val="25000"/>
                  </a:sysClr>
                </a:solidFill>
                <a:effectLst/>
                <a:uLnTx/>
                <a:uFillTx/>
                <a:latin typeface="Corbel"/>
                <a:ea typeface="+mj-ea"/>
                <a:cs typeface="+mj-cs"/>
              </a:rPr>
              <a:t>Quien soy</a:t>
            </a:r>
            <a:endParaRPr kumimoji="0" lang="es-ES" sz="5200" b="1" i="0" u="none" strike="noStrike" kern="1200" cap="none" spc="-300" normalizeH="0" baseline="0" noProof="0" dirty="0">
              <a:ln>
                <a:noFill/>
              </a:ln>
              <a:solidFill>
                <a:sysClr val="windowText" lastClr="000000">
                  <a:lumMod val="75000"/>
                  <a:lumOff val="25000"/>
                </a:sysClr>
              </a:solidFill>
              <a:effectLst/>
              <a:uLnTx/>
              <a:uFillTx/>
              <a:latin typeface="Corbel"/>
              <a:ea typeface="+mj-ea"/>
              <a:cs typeface="+mj-cs"/>
            </a:endParaRPr>
          </a:p>
        </p:txBody>
      </p:sp>
      <p:sp>
        <p:nvSpPr>
          <p:cNvPr id="20" name="Marcador de texto 2">
            <a:extLst>
              <a:ext uri="{FF2B5EF4-FFF2-40B4-BE49-F238E27FC236}">
                <a16:creationId xmlns:a16="http://schemas.microsoft.com/office/drawing/2014/main" id="{CC18DA25-3156-48B5-BBF8-59B643F4DB62}"/>
              </a:ext>
            </a:extLst>
          </p:cNvPr>
          <p:cNvSpPr txBox="1">
            <a:spLocks/>
          </p:cNvSpPr>
          <p:nvPr/>
        </p:nvSpPr>
        <p:spPr>
          <a:xfrm>
            <a:off x="7111800" y="4787900"/>
            <a:ext cx="4648200" cy="1162800"/>
          </a:xfrm>
          <a:prstGeom prst="rect">
            <a:avLst/>
          </a:prstGeom>
          <a:solidFill>
            <a:srgbClr val="0000CC">
              <a:alpha val="80000"/>
            </a:srgbClr>
          </a:solidFill>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800" b="0" i="0" u="none" strike="noStrike" kern="1200" cap="none" spc="0" normalizeH="0" baseline="0" noProof="0">
                <a:ln>
                  <a:noFill/>
                </a:ln>
                <a:solidFill>
                  <a:srgbClr val="FFFFFF"/>
                </a:solidFill>
                <a:effectLst/>
                <a:uLnTx/>
                <a:uFillTx/>
                <a:latin typeface="Candara"/>
                <a:ea typeface="+mn-ea"/>
                <a:cs typeface="+mn-cs"/>
              </a:rPr>
              <a:t>Especialista en Coaching y Mentoria</a:t>
            </a:r>
            <a:endParaRPr kumimoji="0" lang="es-ES" sz="1800" b="0" i="0" u="none" strike="noStrike" kern="1200" cap="none" spc="0" normalizeH="0" baseline="0" noProof="0" dirty="0">
              <a:ln>
                <a:noFill/>
              </a:ln>
              <a:solidFill>
                <a:srgbClr val="FFFFFF"/>
              </a:solidFill>
              <a:effectLst/>
              <a:uLnTx/>
              <a:uFillTx/>
              <a:latin typeface="Candara"/>
              <a:ea typeface="+mn-ea"/>
              <a:cs typeface="+mn-cs"/>
            </a:endParaRPr>
          </a:p>
        </p:txBody>
      </p:sp>
      <p:sp>
        <p:nvSpPr>
          <p:cNvPr id="21" name="Marcador de número de diapositiva 5">
            <a:extLst>
              <a:ext uri="{FF2B5EF4-FFF2-40B4-BE49-F238E27FC236}">
                <a16:creationId xmlns:a16="http://schemas.microsoft.com/office/drawing/2014/main" id="{AF8B3626-E9C5-E691-BC9C-1844D1DC08B0}"/>
              </a:ext>
            </a:extLst>
          </p:cNvPr>
          <p:cNvSpPr txBox="1">
            <a:spLocks/>
          </p:cNvSpPr>
          <p:nvPr/>
        </p:nvSpPr>
        <p:spPr>
          <a:xfrm>
            <a:off x="11760000" y="6371351"/>
            <a:ext cx="432000" cy="432000"/>
          </a:xfrm>
          <a:prstGeom prst="rect">
            <a:avLst/>
          </a:prstGeom>
          <a:solidFill>
            <a:sysClr val="windowText" lastClr="000000">
              <a:lumMod val="75000"/>
              <a:lumOff val="25000"/>
            </a:sysClr>
          </a:solidFill>
        </p:spPr>
        <p:txBody>
          <a:bodyPr vert="horz" lIns="0" tIns="0" rIns="0" bIns="0" rtlCol="0" anchor="ctr"/>
          <a:lstStyle>
            <a:defPPr rtl="0">
              <a:defRPr lang="es-es"/>
            </a:defPPr>
            <a:lvl1pPr marL="0" algn="ctr" defTabSz="914400" rtl="0" eaLnBrk="1" latinLnBrk="0" hangingPunct="1">
              <a:defRPr sz="1200"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s-ES" sz="1200" b="0" i="0" u="none" strike="noStrike" kern="1200" cap="none" spc="0" normalizeH="0" baseline="0" noProof="0" smtClean="0">
                <a:ln>
                  <a:noFill/>
                </a:ln>
                <a:solidFill>
                  <a:srgbClr val="FFFFFF"/>
                </a:solidFill>
                <a:effectLst/>
                <a:uLnTx/>
                <a:uFillTx/>
                <a:latin typeface="Corbe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s-ES" sz="1200" b="0" i="0" u="none" strike="noStrike" kern="1200" cap="none" spc="0" normalizeH="0" baseline="0" noProof="0">
              <a:ln>
                <a:noFill/>
              </a:ln>
              <a:solidFill>
                <a:srgbClr val="FFFFFF"/>
              </a:solidFill>
              <a:effectLst/>
              <a:uLnTx/>
              <a:uFillTx/>
              <a:latin typeface="Corbel"/>
              <a:ea typeface="+mn-ea"/>
              <a:cs typeface="+mn-cs"/>
            </a:endParaRPr>
          </a:p>
        </p:txBody>
      </p:sp>
    </p:spTree>
    <p:extLst>
      <p:ext uri="{BB962C8B-B14F-4D97-AF65-F5344CB8AC3E}">
        <p14:creationId xmlns:p14="http://schemas.microsoft.com/office/powerpoint/2010/main" val="560445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CuadroTexto 103">
            <a:extLst>
              <a:ext uri="{FF2B5EF4-FFF2-40B4-BE49-F238E27FC236}">
                <a16:creationId xmlns:a16="http://schemas.microsoft.com/office/drawing/2014/main" id="{0F3251C4-FCED-5E0B-9884-7972955B4071}"/>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5" name="Marcador de texto 2">
            <a:extLst>
              <a:ext uri="{FF2B5EF4-FFF2-40B4-BE49-F238E27FC236}">
                <a16:creationId xmlns:a16="http://schemas.microsoft.com/office/drawing/2014/main" id="{5ED6C04F-D1D3-7E2C-B9A3-6ECD4904CDB5}"/>
              </a:ext>
            </a:extLst>
          </p:cNvPr>
          <p:cNvSpPr txBox="1">
            <a:spLocks/>
          </p:cNvSpPr>
          <p:nvPr/>
        </p:nvSpPr>
        <p:spPr>
          <a:xfrm>
            <a:off x="0" y="10396"/>
            <a:ext cx="12192000" cy="6847603"/>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endParaRPr lang="es-ES" sz="1800" spc="0" dirty="0">
              <a:solidFill>
                <a:sysClr val="windowText" lastClr="000000">
                  <a:lumMod val="75000"/>
                  <a:lumOff val="25000"/>
                </a:sysClr>
              </a:solidFill>
              <a:latin typeface="Candara"/>
              <a:ea typeface="+mn-ea"/>
              <a:cs typeface="+mn-cs"/>
            </a:endParaRPr>
          </a:p>
        </p:txBody>
      </p:sp>
      <p:sp>
        <p:nvSpPr>
          <p:cNvPr id="6" name="CuadroTexto 5">
            <a:extLst>
              <a:ext uri="{FF2B5EF4-FFF2-40B4-BE49-F238E27FC236}">
                <a16:creationId xmlns:a16="http://schemas.microsoft.com/office/drawing/2014/main" id="{E7D617EB-D750-79C9-8C78-6F6199755521}"/>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7" name="CuadroTexto 6">
            <a:extLst>
              <a:ext uri="{FF2B5EF4-FFF2-40B4-BE49-F238E27FC236}">
                <a16:creationId xmlns:a16="http://schemas.microsoft.com/office/drawing/2014/main" id="{5B70F851-5C02-B4F6-238A-330E5B36E954}"/>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sp>
        <p:nvSpPr>
          <p:cNvPr id="2" name="Título 2">
            <a:extLst>
              <a:ext uri="{FF2B5EF4-FFF2-40B4-BE49-F238E27FC236}">
                <a16:creationId xmlns:a16="http://schemas.microsoft.com/office/drawing/2014/main" id="{C3BBFE52-03B4-994D-A1EB-ED46363399E3}"/>
              </a:ext>
            </a:extLst>
          </p:cNvPr>
          <p:cNvSpPr txBox="1">
            <a:spLocks/>
          </p:cNvSpPr>
          <p:nvPr/>
        </p:nvSpPr>
        <p:spPr>
          <a:xfrm>
            <a:off x="216461" y="850051"/>
            <a:ext cx="7902320"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algn="l">
              <a:defRPr/>
            </a:pPr>
            <a:r>
              <a:rPr lang="es-ES" sz="4000" dirty="0">
                <a:solidFill>
                  <a:srgbClr val="10069F"/>
                </a:solidFill>
                <a:latin typeface="Arial" panose="020B0604020202020204"/>
                <a:ea typeface="+mn-ea"/>
                <a:cs typeface="+mn-cs"/>
              </a:rPr>
              <a:t>BACK UP</a:t>
            </a:r>
          </a:p>
        </p:txBody>
      </p:sp>
      <p:sp>
        <p:nvSpPr>
          <p:cNvPr id="10" name="CuadroTexto 9">
            <a:extLst>
              <a:ext uri="{FF2B5EF4-FFF2-40B4-BE49-F238E27FC236}">
                <a16:creationId xmlns:a16="http://schemas.microsoft.com/office/drawing/2014/main" id="{387799AB-D960-ADBB-51C0-D33E81D9FB77}"/>
              </a:ext>
            </a:extLst>
          </p:cNvPr>
          <p:cNvSpPr txBox="1"/>
          <p:nvPr/>
        </p:nvSpPr>
        <p:spPr>
          <a:xfrm>
            <a:off x="5910481" y="2912502"/>
            <a:ext cx="3937296" cy="1354217"/>
          </a:xfrm>
          <a:prstGeom prst="rect">
            <a:avLst/>
          </a:prstGeom>
          <a:noFill/>
        </p:spPr>
        <p:txBody>
          <a:bodyPr wrap="none" rtlCol="0">
            <a:spAutoFit/>
          </a:bodyPr>
          <a:lstStyle/>
          <a:p>
            <a:pPr algn="ctr"/>
            <a:r>
              <a:rPr lang="es-ES" sz="3200" spc="0" dirty="0">
                <a:solidFill>
                  <a:schemeClr val="bg1">
                    <a:lumMod val="95000"/>
                  </a:schemeClr>
                </a:solidFill>
                <a:latin typeface="Candara"/>
                <a:ea typeface="+mn-ea"/>
                <a:cs typeface="+mn-cs"/>
              </a:rPr>
              <a:t>Programas dirigidos a</a:t>
            </a:r>
          </a:p>
          <a:p>
            <a:pPr algn="ctr"/>
            <a:r>
              <a:rPr lang="es-ES" sz="3200" spc="0" dirty="0">
                <a:solidFill>
                  <a:schemeClr val="bg1">
                    <a:lumMod val="95000"/>
                  </a:schemeClr>
                </a:solidFill>
                <a:latin typeface="Candara"/>
                <a:ea typeface="+mn-ea"/>
                <a:cs typeface="+mn-cs"/>
              </a:rPr>
              <a:t> LIDERES</a:t>
            </a:r>
          </a:p>
          <a:p>
            <a:endParaRPr lang="es-AR" dirty="0">
              <a:solidFill>
                <a:schemeClr val="bg1">
                  <a:lumMod val="95000"/>
                </a:schemeClr>
              </a:solidFill>
            </a:endParaRPr>
          </a:p>
        </p:txBody>
      </p:sp>
      <p:pic>
        <p:nvPicPr>
          <p:cNvPr id="3" name="Imagen 2">
            <a:extLst>
              <a:ext uri="{FF2B5EF4-FFF2-40B4-BE49-F238E27FC236}">
                <a16:creationId xmlns:a16="http://schemas.microsoft.com/office/drawing/2014/main" id="{BA86FCCB-310F-3866-D856-4536EB1C30E6}"/>
              </a:ext>
            </a:extLst>
          </p:cNvPr>
          <p:cNvPicPr>
            <a:picLocks noChangeAspect="1"/>
          </p:cNvPicPr>
          <p:nvPr/>
        </p:nvPicPr>
        <p:blipFill>
          <a:blip r:embed="rId2"/>
          <a:stretch>
            <a:fillRect/>
          </a:stretch>
        </p:blipFill>
        <p:spPr>
          <a:xfrm>
            <a:off x="2024496" y="1865257"/>
            <a:ext cx="3346957" cy="3127485"/>
          </a:xfrm>
          <a:prstGeom prst="rect">
            <a:avLst/>
          </a:prstGeom>
        </p:spPr>
      </p:pic>
    </p:spTree>
    <p:extLst>
      <p:ext uri="{BB962C8B-B14F-4D97-AF65-F5344CB8AC3E}">
        <p14:creationId xmlns:p14="http://schemas.microsoft.com/office/powerpoint/2010/main" val="6549590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Liderazgo Transformacional</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
        <p:nvSpPr>
          <p:cNvPr id="3" name="CuadroTexto 2">
            <a:extLst>
              <a:ext uri="{FF2B5EF4-FFF2-40B4-BE49-F238E27FC236}">
                <a16:creationId xmlns:a16="http://schemas.microsoft.com/office/drawing/2014/main" id="{2F2D8F90-5626-85F5-D44D-9B050DAA83BF}"/>
              </a:ext>
            </a:extLst>
          </p:cNvPr>
          <p:cNvSpPr txBox="1"/>
          <p:nvPr/>
        </p:nvSpPr>
        <p:spPr>
          <a:xfrm>
            <a:off x="1862905" y="1025566"/>
            <a:ext cx="8322839" cy="738664"/>
          </a:xfrm>
          <a:prstGeom prst="rect">
            <a:avLst/>
          </a:prstGeom>
          <a:noFill/>
        </p:spPr>
        <p:txBody>
          <a:bodyPr wrap="square">
            <a:spAutoFit/>
          </a:bodyPr>
          <a:lstStyle/>
          <a:p>
            <a:r>
              <a:rPr lang="es-ES" sz="2400" b="1" dirty="0">
                <a:latin typeface="-apple-system"/>
              </a:rPr>
              <a:t>XXX</a:t>
            </a:r>
          </a:p>
          <a:p>
            <a:endParaRPr lang="es-ES" dirty="0"/>
          </a:p>
        </p:txBody>
      </p:sp>
      <p:sp>
        <p:nvSpPr>
          <p:cNvPr id="6" name="CuadroTexto 5">
            <a:extLst>
              <a:ext uri="{FF2B5EF4-FFF2-40B4-BE49-F238E27FC236}">
                <a16:creationId xmlns:a16="http://schemas.microsoft.com/office/drawing/2014/main" id="{76231A41-06DB-00A1-40F9-D7C7AC66E107}"/>
              </a:ext>
            </a:extLst>
          </p:cNvPr>
          <p:cNvSpPr txBox="1"/>
          <p:nvPr/>
        </p:nvSpPr>
        <p:spPr>
          <a:xfrm>
            <a:off x="-20064" y="1340882"/>
            <a:ext cx="11481618" cy="6463308"/>
          </a:xfrm>
          <a:prstGeom prst="rect">
            <a:avLst/>
          </a:prstGeom>
          <a:noFill/>
        </p:spPr>
        <p:txBody>
          <a:bodyPr wrap="square">
            <a:spAutoFit/>
          </a:bodyPr>
          <a:lstStyle/>
          <a:p>
            <a:pPr algn="l"/>
            <a:r>
              <a:rPr lang="es-ES" b="0" i="0" dirty="0">
                <a:solidFill>
                  <a:srgbClr val="111111"/>
                </a:solidFill>
                <a:effectLst/>
                <a:latin typeface="-apple-system"/>
              </a:rPr>
              <a:t>Incluye</a:t>
            </a:r>
          </a:p>
          <a:p>
            <a:pPr algn="l">
              <a:buFont typeface="+mj-lt"/>
              <a:buAutoNum type="arabicPeriod"/>
            </a:pPr>
            <a:r>
              <a:rPr lang="es-ES" b="1" i="0" dirty="0">
                <a:solidFill>
                  <a:srgbClr val="111111"/>
                </a:solidFill>
                <a:effectLst/>
                <a:latin typeface="-apple-system"/>
              </a:rPr>
              <a:t>Influencia y Motivación</a:t>
            </a:r>
            <a:r>
              <a:rPr lang="es-ES" b="0" i="0" dirty="0">
                <a:solidFill>
                  <a:srgbClr val="111111"/>
                </a:solidFill>
                <a:effectLst/>
                <a:latin typeface="-apple-system"/>
              </a:rPr>
              <a:t>:</a:t>
            </a:r>
          </a:p>
          <a:p>
            <a:pPr marL="742950" lvl="1" indent="-285750" algn="l">
              <a:buFont typeface="+mj-lt"/>
              <a:buAutoNum type="arabicPeriod"/>
            </a:pPr>
            <a:r>
              <a:rPr lang="es-ES" b="0" i="0" dirty="0">
                <a:solidFill>
                  <a:srgbClr val="111111"/>
                </a:solidFill>
                <a:effectLst/>
                <a:highlight>
                  <a:srgbClr val="FFFF00"/>
                </a:highlight>
                <a:latin typeface="-apple-system"/>
              </a:rPr>
              <a:t>Los líderes transformacionales inspiran a sus seguidores al comunicar una visión convincente y emocionante. Esto motiva a las personas a esforzarse más y a trabajar hacia objetivos compartidos.</a:t>
            </a:r>
          </a:p>
          <a:p>
            <a:pPr algn="l">
              <a:buFont typeface="+mj-lt"/>
              <a:buAutoNum type="arabicPeriod"/>
            </a:pPr>
            <a:r>
              <a:rPr lang="es-ES" b="1" i="0" dirty="0">
                <a:solidFill>
                  <a:srgbClr val="111111"/>
                </a:solidFill>
                <a:effectLst/>
                <a:latin typeface="-apple-system"/>
              </a:rPr>
              <a:t>Desarrollo Del Equipo</a:t>
            </a:r>
            <a:r>
              <a:rPr lang="es-ES" b="0" i="0" dirty="0">
                <a:solidFill>
                  <a:srgbClr val="111111"/>
                </a:solidFill>
                <a:effectLst/>
                <a:latin typeface="-apple-system"/>
              </a:rPr>
              <a:t>:</a:t>
            </a:r>
          </a:p>
          <a:p>
            <a:pPr marL="742950" lvl="1" indent="-285750" algn="l">
              <a:buFont typeface="+mj-lt"/>
              <a:buAutoNum type="arabicPeriod"/>
            </a:pPr>
            <a:r>
              <a:rPr lang="es-ES" b="0" i="0" dirty="0">
                <a:solidFill>
                  <a:srgbClr val="111111"/>
                </a:solidFill>
                <a:effectLst/>
                <a:highlight>
                  <a:srgbClr val="FFFF00"/>
                </a:highlight>
                <a:latin typeface="-apple-system"/>
              </a:rPr>
              <a:t>Fomenta el crecimiento individual y colectivo. Los líderes transformacionales se preocupan por el desarrollo de sus seguidores, brindándoles oportunidades de aprendizaje y apoyo.</a:t>
            </a:r>
          </a:p>
          <a:p>
            <a:pPr algn="l">
              <a:buFont typeface="+mj-lt"/>
              <a:buAutoNum type="arabicPeriod"/>
            </a:pPr>
            <a:r>
              <a:rPr lang="es-ES" b="1" i="0" dirty="0">
                <a:solidFill>
                  <a:srgbClr val="111111"/>
                </a:solidFill>
                <a:effectLst/>
                <a:latin typeface="-apple-system"/>
              </a:rPr>
              <a:t>Comunicación de la Transformación/Cambio asertiva y Positiva y Solida</a:t>
            </a:r>
            <a:r>
              <a:rPr lang="es-ES" b="0" i="0" dirty="0">
                <a:solidFill>
                  <a:srgbClr val="111111"/>
                </a:solidFill>
                <a:effectLst/>
                <a:latin typeface="-apple-system"/>
              </a:rPr>
              <a:t>:</a:t>
            </a:r>
          </a:p>
          <a:p>
            <a:pPr algn="l"/>
            <a:r>
              <a:rPr lang="es-ES" dirty="0" err="1">
                <a:solidFill>
                  <a:srgbClr val="111111"/>
                </a:solidFill>
                <a:highlight>
                  <a:srgbClr val="FFFF00"/>
                </a:highlight>
                <a:latin typeface="-apple-system"/>
              </a:rPr>
              <a:t>inclusivo</a:t>
            </a:r>
            <a:r>
              <a:rPr lang="es-ES" b="0" i="0" dirty="0" err="1">
                <a:solidFill>
                  <a:srgbClr val="111111"/>
                </a:solidFill>
                <a:effectLst/>
                <a:highlight>
                  <a:srgbClr val="FFFF00"/>
                </a:highlight>
                <a:latin typeface="-apple-system"/>
              </a:rPr>
              <a:t>Estos</a:t>
            </a:r>
            <a:r>
              <a:rPr lang="es-ES" b="0" i="0" dirty="0">
                <a:solidFill>
                  <a:srgbClr val="111111"/>
                </a:solidFill>
                <a:effectLst/>
                <a:highlight>
                  <a:srgbClr val="FFFF00"/>
                </a:highlight>
                <a:latin typeface="-apple-system"/>
              </a:rPr>
              <a:t> líderes impulsan el cambio y la innovación. Ayudan a las organizaciones a adaptarse a nuevas circunstancias y a superar desafíos.</a:t>
            </a:r>
          </a:p>
          <a:p>
            <a:pPr marL="742950" lvl="1" indent="-285750" algn="l">
              <a:buFont typeface="+mj-lt"/>
              <a:buAutoNum type="arabicPeriod"/>
            </a:pPr>
            <a:r>
              <a:rPr lang="es-ES" b="0" i="0" dirty="0">
                <a:solidFill>
                  <a:srgbClr val="111111"/>
                </a:solidFill>
                <a:effectLst/>
                <a:latin typeface="-apple-system"/>
              </a:rPr>
              <a:t>Los líderes transformacionales establecen relaciones sólidas con sus seguidores. La confianza y la comunicación abierta son fundamentales.</a:t>
            </a:r>
          </a:p>
          <a:p>
            <a:pPr algn="l"/>
            <a:r>
              <a:rPr lang="es-ES" b="0" i="0" dirty="0">
                <a:solidFill>
                  <a:srgbClr val="111111"/>
                </a:solidFill>
                <a:effectLst/>
                <a:latin typeface="-apple-system"/>
              </a:rPr>
              <a:t>En resumen, el liderazgo transformacional no solo beneficia a los individuos, sino que también contribuye al éxito general</a:t>
            </a:r>
            <a:endParaRPr lang="es-ES" dirty="0">
              <a:solidFill>
                <a:srgbClr val="111111"/>
              </a:solidFill>
              <a:highlight>
                <a:srgbClr val="FFFF00"/>
              </a:highlight>
              <a:latin typeface="-apple-system"/>
            </a:endParaRPr>
          </a:p>
          <a:p>
            <a:pPr algn="l"/>
            <a:endParaRPr lang="es-ES" b="0" i="0" dirty="0">
              <a:solidFill>
                <a:srgbClr val="111111"/>
              </a:solidFill>
              <a:effectLst/>
              <a:latin typeface="-apple-system"/>
            </a:endParaRPr>
          </a:p>
          <a:p>
            <a:pPr algn="l">
              <a:buFont typeface="+mj-lt"/>
              <a:buAutoNum type="arabicPeriod"/>
            </a:pPr>
            <a:r>
              <a:rPr lang="es-ES" dirty="0">
                <a:solidFill>
                  <a:srgbClr val="111111"/>
                </a:solidFill>
                <a:latin typeface="-apple-system"/>
              </a:rPr>
              <a:t>Entorno Colaborativo, inclusivo y diverso</a:t>
            </a:r>
            <a:endParaRPr lang="es-ES" b="1" i="0" dirty="0">
              <a:solidFill>
                <a:srgbClr val="111111"/>
              </a:solidFill>
              <a:effectLst/>
              <a:latin typeface="-apple-system"/>
            </a:endParaRPr>
          </a:p>
          <a:p>
            <a:pPr marL="742950" lvl="1" indent="-285750" algn="l">
              <a:buFont typeface="+mj-lt"/>
              <a:buAutoNum type="arabicPeriod"/>
            </a:pPr>
            <a:r>
              <a:rPr lang="es-ES" b="0" i="0" dirty="0">
                <a:solidFill>
                  <a:srgbClr val="111111"/>
                </a:solidFill>
                <a:effectLst/>
                <a:highlight>
                  <a:srgbClr val="FFFF00"/>
                </a:highlight>
                <a:latin typeface="-apple-system"/>
              </a:rPr>
              <a:t>El liderazgo transformacional crea un ambiente de trabajo positivo y colaborativo. Los empleados se sienten valorados y comprometidos.</a:t>
            </a:r>
          </a:p>
          <a:p>
            <a:pPr algn="l">
              <a:buFont typeface="+mj-lt"/>
              <a:buAutoNum type="arabicPeriod"/>
            </a:pPr>
            <a:r>
              <a:rPr lang="es-ES" b="1" i="0" dirty="0">
                <a:solidFill>
                  <a:srgbClr val="111111"/>
                </a:solidFill>
                <a:effectLst/>
                <a:latin typeface="-apple-system"/>
              </a:rPr>
              <a:t>Productividad</a:t>
            </a:r>
            <a:r>
              <a:rPr lang="es-ES" dirty="0">
                <a:solidFill>
                  <a:srgbClr val="111111"/>
                </a:solidFill>
                <a:latin typeface="-apple-system"/>
              </a:rPr>
              <a:t> efectiva</a:t>
            </a:r>
            <a:endParaRPr lang="es-ES" b="0" i="0" dirty="0">
              <a:solidFill>
                <a:srgbClr val="111111"/>
              </a:solidFill>
              <a:effectLst/>
              <a:latin typeface="-apple-system"/>
            </a:endParaRPr>
          </a:p>
          <a:p>
            <a:pPr marL="742950" lvl="1" indent="-285750" algn="l">
              <a:buFont typeface="+mj-lt"/>
              <a:buAutoNum type="arabicPeriod"/>
            </a:pPr>
            <a:r>
              <a:rPr lang="es-ES" b="0" i="0" dirty="0">
                <a:solidFill>
                  <a:srgbClr val="111111"/>
                </a:solidFill>
                <a:effectLst/>
                <a:highlight>
                  <a:srgbClr val="FFFF00"/>
                </a:highlight>
                <a:latin typeface="-apple-system"/>
              </a:rPr>
              <a:t>Mayor </a:t>
            </a:r>
            <a:r>
              <a:rPr lang="es-ES" b="0" i="0" dirty="0" err="1">
                <a:solidFill>
                  <a:srgbClr val="111111"/>
                </a:solidFill>
                <a:effectLst/>
                <a:highlight>
                  <a:srgbClr val="FFFF00"/>
                </a:highlight>
                <a:latin typeface="-apple-system"/>
              </a:rPr>
              <a:t>ProductividadLos</a:t>
            </a:r>
            <a:r>
              <a:rPr lang="es-ES" b="0" i="0" dirty="0">
                <a:solidFill>
                  <a:srgbClr val="111111"/>
                </a:solidFill>
                <a:effectLst/>
                <a:highlight>
                  <a:srgbClr val="FFFF00"/>
                </a:highlight>
                <a:latin typeface="-apple-system"/>
              </a:rPr>
              <a:t> seguidores motivados y comprometidos tienden a ser más productivos. El liderazgo transformacional está relacionado con un alto rendimiento.</a:t>
            </a:r>
          </a:p>
          <a:p>
            <a:pPr algn="l"/>
            <a:r>
              <a:rPr lang="es-ES" b="0" i="0" dirty="0">
                <a:solidFill>
                  <a:srgbClr val="111111"/>
                </a:solidFill>
                <a:effectLst/>
                <a:latin typeface="-apple-system"/>
              </a:rPr>
              <a:t>En resumen, el liderazgo transformacional no solo beneficia a los individuos, sino que también contribuye al éxito general de la organización.</a:t>
            </a:r>
          </a:p>
          <a:p>
            <a:pPr marL="742950" lvl="1" indent="-285750" algn="l">
              <a:buFont typeface="+mj-lt"/>
              <a:buAutoNum type="arabicPeriod"/>
            </a:pPr>
            <a:endParaRPr lang="es-ES" b="0" i="0" dirty="0">
              <a:solidFill>
                <a:srgbClr val="111111"/>
              </a:solidFill>
              <a:effectLst/>
              <a:latin typeface="-apple-system"/>
            </a:endParaRPr>
          </a:p>
        </p:txBody>
      </p:sp>
    </p:spTree>
    <p:extLst>
      <p:ext uri="{BB962C8B-B14F-4D97-AF65-F5344CB8AC3E}">
        <p14:creationId xmlns:p14="http://schemas.microsoft.com/office/powerpoint/2010/main" val="4230188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Liderazgo Transformacional</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
        <p:nvSpPr>
          <p:cNvPr id="3" name="CuadroTexto 2">
            <a:extLst>
              <a:ext uri="{FF2B5EF4-FFF2-40B4-BE49-F238E27FC236}">
                <a16:creationId xmlns:a16="http://schemas.microsoft.com/office/drawing/2014/main" id="{2F2D8F90-5626-85F5-D44D-9B050DAA83BF}"/>
              </a:ext>
            </a:extLst>
          </p:cNvPr>
          <p:cNvSpPr txBox="1"/>
          <p:nvPr/>
        </p:nvSpPr>
        <p:spPr>
          <a:xfrm>
            <a:off x="1862905" y="1025566"/>
            <a:ext cx="8322839" cy="738664"/>
          </a:xfrm>
          <a:prstGeom prst="rect">
            <a:avLst/>
          </a:prstGeom>
          <a:noFill/>
        </p:spPr>
        <p:txBody>
          <a:bodyPr wrap="square">
            <a:spAutoFit/>
          </a:bodyPr>
          <a:lstStyle/>
          <a:p>
            <a:r>
              <a:rPr lang="es-ES" sz="2400" b="1" dirty="0">
                <a:latin typeface="-apple-system"/>
              </a:rPr>
              <a:t>Modelos de Lideres transformacionales</a:t>
            </a:r>
          </a:p>
          <a:p>
            <a:endParaRPr lang="es-ES" dirty="0"/>
          </a:p>
        </p:txBody>
      </p:sp>
      <p:sp>
        <p:nvSpPr>
          <p:cNvPr id="13" name="CuadroTexto 12">
            <a:extLst>
              <a:ext uri="{FF2B5EF4-FFF2-40B4-BE49-F238E27FC236}">
                <a16:creationId xmlns:a16="http://schemas.microsoft.com/office/drawing/2014/main" id="{2B7DCA6E-9B75-24C8-EE74-01D3758A34B2}"/>
              </a:ext>
            </a:extLst>
          </p:cNvPr>
          <p:cNvSpPr txBox="1"/>
          <p:nvPr/>
        </p:nvSpPr>
        <p:spPr>
          <a:xfrm>
            <a:off x="0" y="1559113"/>
            <a:ext cx="6315074" cy="1477328"/>
          </a:xfrm>
          <a:prstGeom prst="rect">
            <a:avLst/>
          </a:prstGeom>
          <a:noFill/>
        </p:spPr>
        <p:txBody>
          <a:bodyPr wrap="square">
            <a:spAutoFit/>
          </a:bodyPr>
          <a:lstStyle/>
          <a:p>
            <a:r>
              <a:rPr lang="es-ES" b="1" i="0" dirty="0">
                <a:solidFill>
                  <a:srgbClr val="3C4043"/>
                </a:solidFill>
                <a:effectLst/>
                <a:latin typeface="Roboto" panose="02000000000000000000" pitchFamily="2" charset="0"/>
              </a:rPr>
              <a:t>El modelo de influencia </a:t>
            </a:r>
            <a:r>
              <a:rPr lang="es-ES" b="0" i="0" dirty="0">
                <a:solidFill>
                  <a:srgbClr val="3C4043"/>
                </a:solidFill>
                <a:effectLst/>
                <a:latin typeface="Roboto" panose="02000000000000000000" pitchFamily="2" charset="0"/>
              </a:rPr>
              <a:t>- Considere el cambio en el que desea influir. - Utilice el modelo de influencia para observar su enfoque y considerar los 4 elementos - Enseñar y entrenar a otros a utilizar el modelo de influencia. </a:t>
            </a:r>
          </a:p>
          <a:p>
            <a:endParaRPr lang="es-ES" dirty="0">
              <a:solidFill>
                <a:srgbClr val="3C4043"/>
              </a:solidFill>
              <a:latin typeface="Roboto" panose="02000000000000000000" pitchFamily="2" charset="0"/>
            </a:endParaRPr>
          </a:p>
        </p:txBody>
      </p:sp>
      <p:pic>
        <p:nvPicPr>
          <p:cNvPr id="15" name="Imagen 14">
            <a:extLst>
              <a:ext uri="{FF2B5EF4-FFF2-40B4-BE49-F238E27FC236}">
                <a16:creationId xmlns:a16="http://schemas.microsoft.com/office/drawing/2014/main" id="{5CB8A17B-8FC1-8439-A373-5030E80925D1}"/>
              </a:ext>
            </a:extLst>
          </p:cNvPr>
          <p:cNvPicPr>
            <a:picLocks noChangeAspect="1"/>
          </p:cNvPicPr>
          <p:nvPr/>
        </p:nvPicPr>
        <p:blipFill>
          <a:blip r:embed="rId3"/>
          <a:stretch>
            <a:fillRect/>
          </a:stretch>
        </p:blipFill>
        <p:spPr>
          <a:xfrm>
            <a:off x="312486" y="2917733"/>
            <a:ext cx="4929603" cy="3249057"/>
          </a:xfrm>
          <a:prstGeom prst="rect">
            <a:avLst/>
          </a:prstGeom>
        </p:spPr>
      </p:pic>
      <p:pic>
        <p:nvPicPr>
          <p:cNvPr id="17" name="Imagen 16">
            <a:extLst>
              <a:ext uri="{FF2B5EF4-FFF2-40B4-BE49-F238E27FC236}">
                <a16:creationId xmlns:a16="http://schemas.microsoft.com/office/drawing/2014/main" id="{921FE16E-6B99-D6D4-4B84-EB7FFB7BE5A9}"/>
              </a:ext>
            </a:extLst>
          </p:cNvPr>
          <p:cNvPicPr>
            <a:picLocks noChangeAspect="1"/>
          </p:cNvPicPr>
          <p:nvPr/>
        </p:nvPicPr>
        <p:blipFill>
          <a:blip r:embed="rId4"/>
          <a:stretch>
            <a:fillRect/>
          </a:stretch>
        </p:blipFill>
        <p:spPr>
          <a:xfrm>
            <a:off x="7591996" y="0"/>
            <a:ext cx="4755746" cy="3074796"/>
          </a:xfrm>
          <a:prstGeom prst="rect">
            <a:avLst/>
          </a:prstGeom>
        </p:spPr>
      </p:pic>
      <p:pic>
        <p:nvPicPr>
          <p:cNvPr id="19" name="Imagen 18">
            <a:extLst>
              <a:ext uri="{FF2B5EF4-FFF2-40B4-BE49-F238E27FC236}">
                <a16:creationId xmlns:a16="http://schemas.microsoft.com/office/drawing/2014/main" id="{63DAD168-A95B-0AE1-B7E7-8D754D8EEFBF}"/>
              </a:ext>
            </a:extLst>
          </p:cNvPr>
          <p:cNvPicPr>
            <a:picLocks noChangeAspect="1"/>
          </p:cNvPicPr>
          <p:nvPr/>
        </p:nvPicPr>
        <p:blipFill>
          <a:blip r:embed="rId5"/>
          <a:stretch>
            <a:fillRect/>
          </a:stretch>
        </p:blipFill>
        <p:spPr>
          <a:xfrm>
            <a:off x="7548772" y="862866"/>
            <a:ext cx="4652753" cy="3103373"/>
          </a:xfrm>
          <a:prstGeom prst="rect">
            <a:avLst/>
          </a:prstGeom>
        </p:spPr>
      </p:pic>
      <p:sp>
        <p:nvSpPr>
          <p:cNvPr id="21" name="CuadroTexto 20">
            <a:extLst>
              <a:ext uri="{FF2B5EF4-FFF2-40B4-BE49-F238E27FC236}">
                <a16:creationId xmlns:a16="http://schemas.microsoft.com/office/drawing/2014/main" id="{8CAA455C-5433-0895-E9A9-B646DBC9DE74}"/>
              </a:ext>
            </a:extLst>
          </p:cNvPr>
          <p:cNvSpPr txBox="1"/>
          <p:nvPr/>
        </p:nvSpPr>
        <p:spPr>
          <a:xfrm>
            <a:off x="5662613" y="4337303"/>
            <a:ext cx="6391274" cy="1477328"/>
          </a:xfrm>
          <a:prstGeom prst="rect">
            <a:avLst/>
          </a:prstGeom>
          <a:noFill/>
        </p:spPr>
        <p:txBody>
          <a:bodyPr wrap="square">
            <a:spAutoFit/>
          </a:bodyPr>
          <a:lstStyle/>
          <a:p>
            <a:r>
              <a:rPr lang="en-US" dirty="0"/>
              <a:t>▪ Identify what skills are required to work differently and build them using adult learning principles (e.g., on the job works better than in the classroom, consistent feedback works better than once only, success breeds success) ▪ Focus on top team skills as well as front line skills</a:t>
            </a:r>
            <a:endParaRPr lang="es-AR" dirty="0"/>
          </a:p>
        </p:txBody>
      </p:sp>
      <p:pic>
        <p:nvPicPr>
          <p:cNvPr id="23" name="Imagen 22">
            <a:extLst>
              <a:ext uri="{FF2B5EF4-FFF2-40B4-BE49-F238E27FC236}">
                <a16:creationId xmlns:a16="http://schemas.microsoft.com/office/drawing/2014/main" id="{8339A13D-E02A-BCB5-F2E6-5D679FC78A37}"/>
              </a:ext>
            </a:extLst>
          </p:cNvPr>
          <p:cNvPicPr>
            <a:picLocks noChangeAspect="1"/>
          </p:cNvPicPr>
          <p:nvPr/>
        </p:nvPicPr>
        <p:blipFill>
          <a:blip r:embed="rId6"/>
          <a:stretch>
            <a:fillRect/>
          </a:stretch>
        </p:blipFill>
        <p:spPr>
          <a:xfrm>
            <a:off x="5242089" y="3628551"/>
            <a:ext cx="5320945" cy="2982381"/>
          </a:xfrm>
          <a:prstGeom prst="rect">
            <a:avLst/>
          </a:prstGeom>
        </p:spPr>
      </p:pic>
    </p:spTree>
    <p:extLst>
      <p:ext uri="{BB962C8B-B14F-4D97-AF65-F5344CB8AC3E}">
        <p14:creationId xmlns:p14="http://schemas.microsoft.com/office/powerpoint/2010/main" val="27769148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Liderazgo Transformacional</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
        <p:nvSpPr>
          <p:cNvPr id="3" name="CuadroTexto 2">
            <a:extLst>
              <a:ext uri="{FF2B5EF4-FFF2-40B4-BE49-F238E27FC236}">
                <a16:creationId xmlns:a16="http://schemas.microsoft.com/office/drawing/2014/main" id="{2F2D8F90-5626-85F5-D44D-9B050DAA83BF}"/>
              </a:ext>
            </a:extLst>
          </p:cNvPr>
          <p:cNvSpPr txBox="1"/>
          <p:nvPr/>
        </p:nvSpPr>
        <p:spPr>
          <a:xfrm>
            <a:off x="1862905" y="1025566"/>
            <a:ext cx="8322839" cy="738664"/>
          </a:xfrm>
          <a:prstGeom prst="rect">
            <a:avLst/>
          </a:prstGeom>
          <a:noFill/>
        </p:spPr>
        <p:txBody>
          <a:bodyPr wrap="square">
            <a:spAutoFit/>
          </a:bodyPr>
          <a:lstStyle/>
          <a:p>
            <a:r>
              <a:rPr lang="es-ES" sz="2400" b="1" dirty="0">
                <a:latin typeface="-apple-system"/>
              </a:rPr>
              <a:t>Modelos de Lideres transformacionales</a:t>
            </a:r>
          </a:p>
          <a:p>
            <a:endParaRPr lang="es-ES" dirty="0"/>
          </a:p>
        </p:txBody>
      </p:sp>
      <p:pic>
        <p:nvPicPr>
          <p:cNvPr id="17" name="Imagen 16">
            <a:extLst>
              <a:ext uri="{FF2B5EF4-FFF2-40B4-BE49-F238E27FC236}">
                <a16:creationId xmlns:a16="http://schemas.microsoft.com/office/drawing/2014/main" id="{921FE16E-6B99-D6D4-4B84-EB7FFB7BE5A9}"/>
              </a:ext>
            </a:extLst>
          </p:cNvPr>
          <p:cNvPicPr>
            <a:picLocks noChangeAspect="1"/>
          </p:cNvPicPr>
          <p:nvPr/>
        </p:nvPicPr>
        <p:blipFill>
          <a:blip r:embed="rId3"/>
          <a:stretch>
            <a:fillRect/>
          </a:stretch>
        </p:blipFill>
        <p:spPr>
          <a:xfrm>
            <a:off x="7411550" y="386652"/>
            <a:ext cx="4755746" cy="3074796"/>
          </a:xfrm>
          <a:prstGeom prst="rect">
            <a:avLst/>
          </a:prstGeom>
        </p:spPr>
      </p:pic>
      <p:pic>
        <p:nvPicPr>
          <p:cNvPr id="19" name="Imagen 18">
            <a:extLst>
              <a:ext uri="{FF2B5EF4-FFF2-40B4-BE49-F238E27FC236}">
                <a16:creationId xmlns:a16="http://schemas.microsoft.com/office/drawing/2014/main" id="{63DAD168-A95B-0AE1-B7E7-8D754D8EEFBF}"/>
              </a:ext>
            </a:extLst>
          </p:cNvPr>
          <p:cNvPicPr>
            <a:picLocks noChangeAspect="1"/>
          </p:cNvPicPr>
          <p:nvPr/>
        </p:nvPicPr>
        <p:blipFill>
          <a:blip r:embed="rId4"/>
          <a:stretch>
            <a:fillRect/>
          </a:stretch>
        </p:blipFill>
        <p:spPr>
          <a:xfrm>
            <a:off x="7463047" y="3552332"/>
            <a:ext cx="4652753" cy="3103373"/>
          </a:xfrm>
          <a:prstGeom prst="rect">
            <a:avLst/>
          </a:prstGeom>
        </p:spPr>
      </p:pic>
      <p:sp>
        <p:nvSpPr>
          <p:cNvPr id="21" name="CuadroTexto 20">
            <a:extLst>
              <a:ext uri="{FF2B5EF4-FFF2-40B4-BE49-F238E27FC236}">
                <a16:creationId xmlns:a16="http://schemas.microsoft.com/office/drawing/2014/main" id="{8CAA455C-5433-0895-E9A9-B646DBC9DE74}"/>
              </a:ext>
            </a:extLst>
          </p:cNvPr>
          <p:cNvSpPr txBox="1"/>
          <p:nvPr/>
        </p:nvSpPr>
        <p:spPr>
          <a:xfrm>
            <a:off x="490538" y="4507554"/>
            <a:ext cx="6391274" cy="1477328"/>
          </a:xfrm>
          <a:prstGeom prst="rect">
            <a:avLst/>
          </a:prstGeom>
          <a:noFill/>
        </p:spPr>
        <p:txBody>
          <a:bodyPr wrap="square">
            <a:spAutoFit/>
          </a:bodyPr>
          <a:lstStyle/>
          <a:p>
            <a:r>
              <a:rPr lang="en-US" dirty="0"/>
              <a:t>2 -  Identify what skills are required to work differently and build them using adult learning principles (e.g., on the job works better than in the classroom, consistent feedback works better than once only, success breeds success) ▪ Focus on top team skills as well as front line skills</a:t>
            </a:r>
            <a:endParaRPr lang="es-AR" dirty="0"/>
          </a:p>
        </p:txBody>
      </p:sp>
      <p:sp>
        <p:nvSpPr>
          <p:cNvPr id="5" name="CuadroTexto 4">
            <a:extLst>
              <a:ext uri="{FF2B5EF4-FFF2-40B4-BE49-F238E27FC236}">
                <a16:creationId xmlns:a16="http://schemas.microsoft.com/office/drawing/2014/main" id="{351BED6E-2B40-2D2B-7BB3-CCC3EB6DFFC6}"/>
              </a:ext>
            </a:extLst>
          </p:cNvPr>
          <p:cNvSpPr txBox="1"/>
          <p:nvPr/>
        </p:nvSpPr>
        <p:spPr>
          <a:xfrm>
            <a:off x="490538" y="1622241"/>
            <a:ext cx="6315074" cy="2031325"/>
          </a:xfrm>
          <a:prstGeom prst="rect">
            <a:avLst/>
          </a:prstGeom>
          <a:noFill/>
        </p:spPr>
        <p:txBody>
          <a:bodyPr wrap="square">
            <a:spAutoFit/>
          </a:bodyPr>
          <a:lstStyle/>
          <a:p>
            <a:r>
              <a:rPr lang="en-US" dirty="0"/>
              <a:t>1 - Develop a change story and cascade through organization – the best ones make it very personal ▪ Engage stakeholders broadly (including partners/ suppliers) ▪ Hold mirror sessions, using survey data and qualitative interviews, to align everyone on the current and future state of the organization ▪ Talk about the why using the 5 business benefits ▪ Communicate, communicate, communicate</a:t>
            </a:r>
            <a:endParaRPr lang="es-AR" dirty="0"/>
          </a:p>
        </p:txBody>
      </p:sp>
    </p:spTree>
    <p:extLst>
      <p:ext uri="{BB962C8B-B14F-4D97-AF65-F5344CB8AC3E}">
        <p14:creationId xmlns:p14="http://schemas.microsoft.com/office/powerpoint/2010/main" val="2163026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Liderazgo Transformacional</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
        <p:nvSpPr>
          <p:cNvPr id="3" name="CuadroTexto 2">
            <a:extLst>
              <a:ext uri="{FF2B5EF4-FFF2-40B4-BE49-F238E27FC236}">
                <a16:creationId xmlns:a16="http://schemas.microsoft.com/office/drawing/2014/main" id="{2F2D8F90-5626-85F5-D44D-9B050DAA83BF}"/>
              </a:ext>
            </a:extLst>
          </p:cNvPr>
          <p:cNvSpPr txBox="1"/>
          <p:nvPr/>
        </p:nvSpPr>
        <p:spPr>
          <a:xfrm>
            <a:off x="1862905" y="1025566"/>
            <a:ext cx="8322839" cy="738664"/>
          </a:xfrm>
          <a:prstGeom prst="rect">
            <a:avLst/>
          </a:prstGeom>
          <a:noFill/>
        </p:spPr>
        <p:txBody>
          <a:bodyPr wrap="square">
            <a:spAutoFit/>
          </a:bodyPr>
          <a:lstStyle/>
          <a:p>
            <a:r>
              <a:rPr lang="es-ES" sz="2400" b="1" dirty="0">
                <a:latin typeface="-apple-system"/>
              </a:rPr>
              <a:t>Modelos de Lideres transformacionales</a:t>
            </a:r>
          </a:p>
          <a:p>
            <a:endParaRPr lang="es-ES" dirty="0"/>
          </a:p>
        </p:txBody>
      </p:sp>
      <p:sp>
        <p:nvSpPr>
          <p:cNvPr id="21" name="CuadroTexto 20">
            <a:extLst>
              <a:ext uri="{FF2B5EF4-FFF2-40B4-BE49-F238E27FC236}">
                <a16:creationId xmlns:a16="http://schemas.microsoft.com/office/drawing/2014/main" id="{8CAA455C-5433-0895-E9A9-B646DBC9DE74}"/>
              </a:ext>
            </a:extLst>
          </p:cNvPr>
          <p:cNvSpPr txBox="1"/>
          <p:nvPr/>
        </p:nvSpPr>
        <p:spPr>
          <a:xfrm>
            <a:off x="414338" y="4358252"/>
            <a:ext cx="6391274" cy="1754326"/>
          </a:xfrm>
          <a:prstGeom prst="rect">
            <a:avLst/>
          </a:prstGeom>
          <a:noFill/>
        </p:spPr>
        <p:txBody>
          <a:bodyPr wrap="square">
            <a:spAutoFit/>
          </a:bodyPr>
          <a:lstStyle/>
          <a:p>
            <a:r>
              <a:rPr lang="en-US" dirty="0"/>
              <a:t>4 - Top team aligns themselves and presents a united front to the organization ▪ Top team members take visible action that shows they are behaving differently ▪ Identifying the “moments of truth” that are the highest impact changes ▪ Top team shows themselves willing to take feedback and change their behavior ▪ Influence key influencers and involve them in modeling the change</a:t>
            </a:r>
            <a:endParaRPr lang="es-AR" dirty="0"/>
          </a:p>
        </p:txBody>
      </p:sp>
      <p:sp>
        <p:nvSpPr>
          <p:cNvPr id="5" name="CuadroTexto 4">
            <a:extLst>
              <a:ext uri="{FF2B5EF4-FFF2-40B4-BE49-F238E27FC236}">
                <a16:creationId xmlns:a16="http://schemas.microsoft.com/office/drawing/2014/main" id="{351BED6E-2B40-2D2B-7BB3-CCC3EB6DFFC6}"/>
              </a:ext>
            </a:extLst>
          </p:cNvPr>
          <p:cNvSpPr txBox="1"/>
          <p:nvPr/>
        </p:nvSpPr>
        <p:spPr>
          <a:xfrm>
            <a:off x="490538" y="1622241"/>
            <a:ext cx="6315074" cy="923330"/>
          </a:xfrm>
          <a:prstGeom prst="rect">
            <a:avLst/>
          </a:prstGeom>
          <a:noFill/>
        </p:spPr>
        <p:txBody>
          <a:bodyPr wrap="square">
            <a:spAutoFit/>
          </a:bodyPr>
          <a:lstStyle/>
          <a:p>
            <a:r>
              <a:rPr lang="en-US" dirty="0"/>
              <a:t>3 - Change the metrics used to mark success, linked to consequences ▪ Impose tighter performance management ▪ Adjust the organization structure – right people, right places</a:t>
            </a:r>
            <a:endParaRPr lang="es-AR" dirty="0"/>
          </a:p>
        </p:txBody>
      </p:sp>
      <p:pic>
        <p:nvPicPr>
          <p:cNvPr id="6" name="Imagen 5">
            <a:extLst>
              <a:ext uri="{FF2B5EF4-FFF2-40B4-BE49-F238E27FC236}">
                <a16:creationId xmlns:a16="http://schemas.microsoft.com/office/drawing/2014/main" id="{4F69284F-32F5-0020-B65C-B385B17A41DF}"/>
              </a:ext>
            </a:extLst>
          </p:cNvPr>
          <p:cNvPicPr>
            <a:picLocks noChangeAspect="1"/>
          </p:cNvPicPr>
          <p:nvPr/>
        </p:nvPicPr>
        <p:blipFill>
          <a:blip r:embed="rId3"/>
          <a:stretch>
            <a:fillRect/>
          </a:stretch>
        </p:blipFill>
        <p:spPr>
          <a:xfrm>
            <a:off x="6152415" y="265819"/>
            <a:ext cx="4038762" cy="2712844"/>
          </a:xfrm>
          <a:prstGeom prst="rect">
            <a:avLst/>
          </a:prstGeom>
        </p:spPr>
      </p:pic>
      <p:pic>
        <p:nvPicPr>
          <p:cNvPr id="8" name="Imagen 7">
            <a:extLst>
              <a:ext uri="{FF2B5EF4-FFF2-40B4-BE49-F238E27FC236}">
                <a16:creationId xmlns:a16="http://schemas.microsoft.com/office/drawing/2014/main" id="{58EB52BC-3780-8C84-2469-D797E3256B05}"/>
              </a:ext>
            </a:extLst>
          </p:cNvPr>
          <p:cNvPicPr>
            <a:picLocks noChangeAspect="1"/>
          </p:cNvPicPr>
          <p:nvPr/>
        </p:nvPicPr>
        <p:blipFill>
          <a:blip r:embed="rId4"/>
          <a:stretch>
            <a:fillRect/>
          </a:stretch>
        </p:blipFill>
        <p:spPr>
          <a:xfrm>
            <a:off x="8171796" y="1967611"/>
            <a:ext cx="3848916" cy="2594085"/>
          </a:xfrm>
          <a:prstGeom prst="rect">
            <a:avLst/>
          </a:prstGeom>
        </p:spPr>
      </p:pic>
      <p:pic>
        <p:nvPicPr>
          <p:cNvPr id="10" name="Imagen 9">
            <a:extLst>
              <a:ext uri="{FF2B5EF4-FFF2-40B4-BE49-F238E27FC236}">
                <a16:creationId xmlns:a16="http://schemas.microsoft.com/office/drawing/2014/main" id="{516FBFAF-635C-384C-2839-79D1DA6BBE59}"/>
              </a:ext>
            </a:extLst>
          </p:cNvPr>
          <p:cNvPicPr>
            <a:picLocks noChangeAspect="1"/>
          </p:cNvPicPr>
          <p:nvPr/>
        </p:nvPicPr>
        <p:blipFill>
          <a:blip r:embed="rId5"/>
          <a:stretch>
            <a:fillRect/>
          </a:stretch>
        </p:blipFill>
        <p:spPr>
          <a:xfrm>
            <a:off x="8167331" y="4134378"/>
            <a:ext cx="3853381" cy="2558645"/>
          </a:xfrm>
          <a:prstGeom prst="rect">
            <a:avLst/>
          </a:prstGeom>
        </p:spPr>
      </p:pic>
    </p:spTree>
    <p:extLst>
      <p:ext uri="{BB962C8B-B14F-4D97-AF65-F5344CB8AC3E}">
        <p14:creationId xmlns:p14="http://schemas.microsoft.com/office/powerpoint/2010/main" val="7341414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Liderazgo Transformacional</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
        <p:nvSpPr>
          <p:cNvPr id="3" name="CuadroTexto 2">
            <a:extLst>
              <a:ext uri="{FF2B5EF4-FFF2-40B4-BE49-F238E27FC236}">
                <a16:creationId xmlns:a16="http://schemas.microsoft.com/office/drawing/2014/main" id="{2F2D8F90-5626-85F5-D44D-9B050DAA83BF}"/>
              </a:ext>
            </a:extLst>
          </p:cNvPr>
          <p:cNvSpPr txBox="1"/>
          <p:nvPr/>
        </p:nvSpPr>
        <p:spPr>
          <a:xfrm>
            <a:off x="1862905" y="1025566"/>
            <a:ext cx="8322839" cy="738664"/>
          </a:xfrm>
          <a:prstGeom prst="rect">
            <a:avLst/>
          </a:prstGeom>
          <a:noFill/>
        </p:spPr>
        <p:txBody>
          <a:bodyPr wrap="square">
            <a:spAutoFit/>
          </a:bodyPr>
          <a:lstStyle/>
          <a:p>
            <a:r>
              <a:rPr lang="es-ES" sz="2400" b="1" dirty="0">
                <a:latin typeface="-apple-system"/>
              </a:rPr>
              <a:t>Modelos de Lideres transformacionales</a:t>
            </a:r>
          </a:p>
          <a:p>
            <a:endParaRPr lang="es-ES" dirty="0"/>
          </a:p>
        </p:txBody>
      </p:sp>
      <p:pic>
        <p:nvPicPr>
          <p:cNvPr id="8" name="Imagen 7">
            <a:extLst>
              <a:ext uri="{FF2B5EF4-FFF2-40B4-BE49-F238E27FC236}">
                <a16:creationId xmlns:a16="http://schemas.microsoft.com/office/drawing/2014/main" id="{5B007BF3-3D15-7C0F-1358-5B6ACCB582BA}"/>
              </a:ext>
            </a:extLst>
          </p:cNvPr>
          <p:cNvPicPr>
            <a:picLocks noChangeAspect="1"/>
          </p:cNvPicPr>
          <p:nvPr/>
        </p:nvPicPr>
        <p:blipFill>
          <a:blip r:embed="rId3"/>
          <a:stretch>
            <a:fillRect/>
          </a:stretch>
        </p:blipFill>
        <p:spPr>
          <a:xfrm>
            <a:off x="7413796" y="2701523"/>
            <a:ext cx="4576228" cy="3029590"/>
          </a:xfrm>
          <a:prstGeom prst="rect">
            <a:avLst/>
          </a:prstGeom>
        </p:spPr>
      </p:pic>
      <p:pic>
        <p:nvPicPr>
          <p:cNvPr id="10" name="Imagen 9">
            <a:extLst>
              <a:ext uri="{FF2B5EF4-FFF2-40B4-BE49-F238E27FC236}">
                <a16:creationId xmlns:a16="http://schemas.microsoft.com/office/drawing/2014/main" id="{89AE37C7-EA63-05C3-9ADD-95E83947D7C6}"/>
              </a:ext>
            </a:extLst>
          </p:cNvPr>
          <p:cNvPicPr>
            <a:picLocks noChangeAspect="1"/>
          </p:cNvPicPr>
          <p:nvPr/>
        </p:nvPicPr>
        <p:blipFill>
          <a:blip r:embed="rId4"/>
          <a:stretch>
            <a:fillRect/>
          </a:stretch>
        </p:blipFill>
        <p:spPr>
          <a:xfrm>
            <a:off x="1057193" y="3202116"/>
            <a:ext cx="4200688" cy="2821420"/>
          </a:xfrm>
          <a:prstGeom prst="rect">
            <a:avLst/>
          </a:prstGeom>
        </p:spPr>
      </p:pic>
      <p:sp>
        <p:nvSpPr>
          <p:cNvPr id="13" name="CuadroTexto 12">
            <a:extLst>
              <a:ext uri="{FF2B5EF4-FFF2-40B4-BE49-F238E27FC236}">
                <a16:creationId xmlns:a16="http://schemas.microsoft.com/office/drawing/2014/main" id="{2B7DCA6E-9B75-24C8-EE74-01D3758A34B2}"/>
              </a:ext>
            </a:extLst>
          </p:cNvPr>
          <p:cNvSpPr txBox="1"/>
          <p:nvPr/>
        </p:nvSpPr>
        <p:spPr>
          <a:xfrm>
            <a:off x="0" y="1559113"/>
            <a:ext cx="6315074" cy="1477328"/>
          </a:xfrm>
          <a:prstGeom prst="rect">
            <a:avLst/>
          </a:prstGeom>
          <a:noFill/>
        </p:spPr>
        <p:txBody>
          <a:bodyPr wrap="square">
            <a:spAutoFit/>
          </a:bodyPr>
          <a:lstStyle/>
          <a:p>
            <a:endParaRPr lang="es-ES" b="0" i="0" dirty="0">
              <a:solidFill>
                <a:srgbClr val="3C4043"/>
              </a:solidFill>
              <a:effectLst/>
              <a:latin typeface="Roboto" panose="02000000000000000000" pitchFamily="2" charset="0"/>
            </a:endParaRPr>
          </a:p>
          <a:p>
            <a:r>
              <a:rPr lang="es-ES" b="0" i="0" dirty="0">
                <a:solidFill>
                  <a:srgbClr val="3C4043"/>
                </a:solidFill>
                <a:effectLst/>
                <a:latin typeface="Roboto" panose="02000000000000000000" pitchFamily="2" charset="0"/>
              </a:rPr>
              <a:t>• El </a:t>
            </a:r>
            <a:r>
              <a:rPr lang="es-ES" b="1" i="0" dirty="0">
                <a:solidFill>
                  <a:srgbClr val="3C4043"/>
                </a:solidFill>
                <a:effectLst/>
                <a:latin typeface="Roboto" panose="02000000000000000000" pitchFamily="2" charset="0"/>
              </a:rPr>
              <a:t>modelo de rendición de cuentas /</a:t>
            </a:r>
            <a:r>
              <a:rPr lang="es-ES" b="1" i="0" dirty="0" err="1">
                <a:solidFill>
                  <a:srgbClr val="3C4043"/>
                </a:solidFill>
                <a:effectLst/>
                <a:latin typeface="Roboto" panose="02000000000000000000" pitchFamily="2" charset="0"/>
              </a:rPr>
              <a:t>Accountability</a:t>
            </a:r>
            <a:r>
              <a:rPr lang="es-ES" b="1" i="0" dirty="0">
                <a:solidFill>
                  <a:srgbClr val="3C4043"/>
                </a:solidFill>
                <a:effectLst/>
                <a:latin typeface="Roboto" panose="02000000000000000000" pitchFamily="2" charset="0"/>
              </a:rPr>
              <a:t> </a:t>
            </a:r>
            <a:r>
              <a:rPr lang="es-ES" b="1" i="0" dirty="0" err="1">
                <a:solidFill>
                  <a:srgbClr val="3C4043"/>
                </a:solidFill>
                <a:effectLst/>
                <a:latin typeface="Roboto" panose="02000000000000000000" pitchFamily="2" charset="0"/>
              </a:rPr>
              <a:t>Model</a:t>
            </a:r>
            <a:endParaRPr lang="es-ES" b="1" i="0" dirty="0">
              <a:solidFill>
                <a:srgbClr val="3C4043"/>
              </a:solidFill>
              <a:effectLst/>
              <a:latin typeface="Roboto" panose="02000000000000000000" pitchFamily="2" charset="0"/>
            </a:endParaRPr>
          </a:p>
          <a:p>
            <a:r>
              <a:rPr lang="es-ES" b="0" i="0" dirty="0">
                <a:solidFill>
                  <a:srgbClr val="3C4043"/>
                </a:solidFill>
                <a:effectLst/>
                <a:latin typeface="Roboto" panose="02000000000000000000" pitchFamily="2" charset="0"/>
              </a:rPr>
              <a:t>- A medida que gestionamos el negocio, tenemos expectativas que nuestro equipo debe seguir. - Aprenda cómo establecer expectativas es un proceso.</a:t>
            </a:r>
            <a:endParaRPr lang="es-AR" dirty="0"/>
          </a:p>
        </p:txBody>
      </p:sp>
    </p:spTree>
    <p:extLst>
      <p:ext uri="{BB962C8B-B14F-4D97-AF65-F5344CB8AC3E}">
        <p14:creationId xmlns:p14="http://schemas.microsoft.com/office/powerpoint/2010/main" val="13336081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a:extLst>
              <a:ext uri="{FF2B5EF4-FFF2-40B4-BE49-F238E27FC236}">
                <a16:creationId xmlns:a16="http://schemas.microsoft.com/office/drawing/2014/main" id="{1F8DDD3D-F18B-23CB-BD17-0E093682ED6F}"/>
              </a:ext>
            </a:extLst>
          </p:cNvPr>
          <p:cNvSpPr txBox="1">
            <a:spLocks/>
          </p:cNvSpPr>
          <p:nvPr/>
        </p:nvSpPr>
        <p:spPr>
          <a:xfrm>
            <a:off x="1575167" y="195341"/>
            <a:ext cx="10263884" cy="665490"/>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R="0" lvl="0" indent="0" algn="l" fontAlgn="auto">
              <a:lnSpc>
                <a:spcPct val="100000"/>
              </a:lnSpc>
              <a:spcBef>
                <a:spcPts val="0"/>
              </a:spcBef>
              <a:spcAft>
                <a:spcPts val="0"/>
              </a:spcAft>
              <a:buClrTx/>
              <a:buSzTx/>
              <a:tabLst/>
              <a:defRPr/>
            </a:pPr>
            <a:r>
              <a:rPr lang="es-ES" sz="4000" dirty="0">
                <a:solidFill>
                  <a:srgbClr val="10069F"/>
                </a:solidFill>
                <a:latin typeface="Arial" panose="020B0604020202020204"/>
                <a:ea typeface="+mn-ea"/>
                <a:cs typeface="+mn-cs"/>
              </a:rPr>
              <a:t>Liderazgo Transformacional</a:t>
            </a:r>
          </a:p>
          <a:p>
            <a:pPr marL="0" marR="0" lvl="0" indent="0" algn="l" defTabSz="914400" rtl="0" eaLnBrk="1" fontAlgn="auto" latinLnBrk="0" hangingPunct="1">
              <a:lnSpc>
                <a:spcPct val="70000"/>
              </a:lnSpc>
              <a:spcBef>
                <a:spcPct val="0"/>
              </a:spcBef>
              <a:spcAft>
                <a:spcPts val="0"/>
              </a:spcAft>
              <a:buClrTx/>
              <a:buSzTx/>
              <a:buFontTx/>
              <a:buNone/>
              <a:tabLst/>
              <a:defRPr/>
            </a:pPr>
            <a:endParaRPr lang="es-ES" sz="2000" spc="0" dirty="0">
              <a:solidFill>
                <a:srgbClr val="0000CC"/>
              </a:solidFill>
              <a:latin typeface="Corbel"/>
            </a:endParaRPr>
          </a:p>
        </p:txBody>
      </p:sp>
      <p:sp>
        <p:nvSpPr>
          <p:cNvPr id="69" name="CuadroTexto 68">
            <a:extLst>
              <a:ext uri="{FF2B5EF4-FFF2-40B4-BE49-F238E27FC236}">
                <a16:creationId xmlns:a16="http://schemas.microsoft.com/office/drawing/2014/main" id="{0D07FC9A-B1CC-CA6C-EE39-221297A3EF03}"/>
              </a:ext>
            </a:extLst>
          </p:cNvPr>
          <p:cNvSpPr txBox="1"/>
          <p:nvPr/>
        </p:nvSpPr>
        <p:spPr>
          <a:xfrm>
            <a:off x="-438412" y="6478272"/>
            <a:ext cx="53467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Coaching y Mentoría Especializada</a:t>
            </a:r>
          </a:p>
        </p:txBody>
      </p:sp>
      <p:sp>
        <p:nvSpPr>
          <p:cNvPr id="30" name="Marcador de texto 2">
            <a:extLst>
              <a:ext uri="{FF2B5EF4-FFF2-40B4-BE49-F238E27FC236}">
                <a16:creationId xmlns:a16="http://schemas.microsoft.com/office/drawing/2014/main" id="{5CDB5E60-6BA3-8F30-B16B-F86652039EAF}"/>
              </a:ext>
            </a:extLst>
          </p:cNvPr>
          <p:cNvSpPr txBox="1">
            <a:spLocks/>
          </p:cNvSpPr>
          <p:nvPr/>
        </p:nvSpPr>
        <p:spPr>
          <a:xfrm>
            <a:off x="0" y="6315959"/>
            <a:ext cx="12192000" cy="542040"/>
          </a:xfrm>
          <a:prstGeom prst="rect">
            <a:avLst/>
          </a:prstGeom>
          <a:solidFill>
            <a:srgbClr val="10069F">
              <a:alpha val="80000"/>
            </a:srgbClr>
          </a:solidFill>
          <a:ln>
            <a:noFill/>
          </a:ln>
        </p:spPr>
        <p:txBody>
          <a:bodyPr vert="horz" lIns="180000" tIns="180000" rIns="180000" bIns="18000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2pPr>
            <a:lvl3pPr marL="5429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3pPr>
            <a:lvl4pPr marL="8096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076325"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s-ES" dirty="0">
              <a:solidFill>
                <a:srgbClr val="10069F"/>
              </a:solidFill>
            </a:endParaRPr>
          </a:p>
        </p:txBody>
      </p:sp>
      <p:sp>
        <p:nvSpPr>
          <p:cNvPr id="31" name="CuadroTexto 30">
            <a:extLst>
              <a:ext uri="{FF2B5EF4-FFF2-40B4-BE49-F238E27FC236}">
                <a16:creationId xmlns:a16="http://schemas.microsoft.com/office/drawing/2014/main" id="{489D5CD0-F010-9F0A-3A30-B55E66FB200C}"/>
              </a:ext>
            </a:extLst>
          </p:cNvPr>
          <p:cNvSpPr txBox="1"/>
          <p:nvPr/>
        </p:nvSpPr>
        <p:spPr>
          <a:xfrm>
            <a:off x="-365760" y="6501817"/>
            <a:ext cx="328736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400" b="1" i="1" u="none" strike="noStrike" kern="1200" cap="none" spc="0" normalizeH="0" baseline="0" noProof="0" dirty="0" err="1">
                <a:ln>
                  <a:noFill/>
                </a:ln>
                <a:solidFill>
                  <a:srgbClr val="FFFFFF"/>
                </a:solidFill>
                <a:effectLst/>
                <a:uLnTx/>
                <a:uFillTx/>
                <a:latin typeface="Candara"/>
                <a:ea typeface="+mn-ea"/>
                <a:cs typeface="+mn-cs"/>
              </a:rPr>
              <a:t>Leading</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he</a:t>
            </a:r>
            <a:r>
              <a:rPr kumimoji="0" lang="es-ES" sz="1400" b="1" i="1" u="none" strike="noStrike" kern="1200" cap="none" spc="0" normalizeH="0" baseline="0" noProof="0" dirty="0">
                <a:ln>
                  <a:noFill/>
                </a:ln>
                <a:solidFill>
                  <a:srgbClr val="FFFFFF"/>
                </a:solidFill>
                <a:effectLst/>
                <a:uLnTx/>
                <a:uFillTx/>
                <a:latin typeface="Candara"/>
                <a:ea typeface="+mn-ea"/>
                <a:cs typeface="+mn-cs"/>
              </a:rPr>
              <a:t> </a:t>
            </a:r>
            <a:r>
              <a:rPr kumimoji="0" lang="es-ES" sz="1400" b="1" i="1" u="none" strike="noStrike" kern="1200" cap="none" spc="0" normalizeH="0" baseline="0" noProof="0" dirty="0" err="1">
                <a:ln>
                  <a:noFill/>
                </a:ln>
                <a:solidFill>
                  <a:srgbClr val="FFFFFF"/>
                </a:solidFill>
                <a:effectLst/>
                <a:uLnTx/>
                <a:uFillTx/>
                <a:latin typeface="Candara"/>
                <a:ea typeface="+mn-ea"/>
                <a:cs typeface="+mn-cs"/>
              </a:rPr>
              <a:t>transformation</a:t>
            </a:r>
            <a:endParaRPr kumimoji="0" lang="es-ES" sz="1400" b="1" i="1" u="none" strike="noStrike" kern="1200" cap="none" spc="0" normalizeH="0" baseline="0" noProof="0" dirty="0">
              <a:ln>
                <a:noFill/>
              </a:ln>
              <a:solidFill>
                <a:srgbClr val="FFFFFF"/>
              </a:solidFill>
              <a:effectLst/>
              <a:uLnTx/>
              <a:uFillTx/>
              <a:latin typeface="Candara"/>
              <a:ea typeface="+mn-ea"/>
              <a:cs typeface="+mn-cs"/>
            </a:endParaRPr>
          </a:p>
        </p:txBody>
      </p:sp>
      <p:sp>
        <p:nvSpPr>
          <p:cNvPr id="65" name="CuadroTexto 64">
            <a:extLst>
              <a:ext uri="{FF2B5EF4-FFF2-40B4-BE49-F238E27FC236}">
                <a16:creationId xmlns:a16="http://schemas.microsoft.com/office/drawing/2014/main" id="{27AA3541-B6BD-79F9-8C69-64DCD914476C}"/>
              </a:ext>
            </a:extLst>
          </p:cNvPr>
          <p:cNvSpPr txBox="1"/>
          <p:nvPr/>
        </p:nvSpPr>
        <p:spPr>
          <a:xfrm>
            <a:off x="-323214" y="6345076"/>
            <a:ext cx="2517731"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sz="1400" b="0" i="1" u="none" strike="noStrike" kern="1200" cap="none" spc="0" normalizeH="0" baseline="0" noProof="0" dirty="0">
                <a:ln>
                  <a:noFill/>
                </a:ln>
                <a:solidFill>
                  <a:srgbClr val="FFFFFF"/>
                </a:solidFill>
                <a:effectLst/>
                <a:uLnTx/>
                <a:uFillTx/>
                <a:latin typeface="Candara"/>
                <a:ea typeface="+mn-ea"/>
                <a:cs typeface="+mn-cs"/>
              </a:rPr>
              <a:t>A la Connie Clark </a:t>
            </a:r>
          </a:p>
        </p:txBody>
      </p:sp>
      <p:pic>
        <p:nvPicPr>
          <p:cNvPr id="2" name="Imagen 1">
            <a:extLst>
              <a:ext uri="{FF2B5EF4-FFF2-40B4-BE49-F238E27FC236}">
                <a16:creationId xmlns:a16="http://schemas.microsoft.com/office/drawing/2014/main" id="{A0F68D29-0DF1-40A1-BB50-6CFDA3150646}"/>
              </a:ext>
            </a:extLst>
          </p:cNvPr>
          <p:cNvPicPr>
            <a:picLocks noChangeAspect="1"/>
          </p:cNvPicPr>
          <p:nvPr/>
        </p:nvPicPr>
        <p:blipFill>
          <a:blip r:embed="rId2"/>
          <a:stretch>
            <a:fillRect/>
          </a:stretch>
        </p:blipFill>
        <p:spPr>
          <a:xfrm>
            <a:off x="61846" y="50940"/>
            <a:ext cx="1513321" cy="1414087"/>
          </a:xfrm>
          <a:prstGeom prst="rect">
            <a:avLst/>
          </a:prstGeom>
        </p:spPr>
      </p:pic>
      <p:sp>
        <p:nvSpPr>
          <p:cNvPr id="17" name="CuadroTexto 16">
            <a:extLst>
              <a:ext uri="{FF2B5EF4-FFF2-40B4-BE49-F238E27FC236}">
                <a16:creationId xmlns:a16="http://schemas.microsoft.com/office/drawing/2014/main" id="{104490DB-C221-B262-FBC2-E5122C270BE9}"/>
              </a:ext>
            </a:extLst>
          </p:cNvPr>
          <p:cNvSpPr txBox="1"/>
          <p:nvPr/>
        </p:nvSpPr>
        <p:spPr>
          <a:xfrm>
            <a:off x="277154" y="1642475"/>
            <a:ext cx="6610350" cy="3693319"/>
          </a:xfrm>
          <a:prstGeom prst="rect">
            <a:avLst/>
          </a:prstGeom>
          <a:noFill/>
        </p:spPr>
        <p:txBody>
          <a:bodyPr wrap="square">
            <a:spAutoFit/>
          </a:bodyPr>
          <a:lstStyle/>
          <a:p>
            <a:r>
              <a:rPr lang="es-ES" b="1" i="0" dirty="0">
                <a:solidFill>
                  <a:srgbClr val="3C4043"/>
                </a:solidFill>
                <a:effectLst/>
                <a:latin typeface="Roboto" panose="02000000000000000000" pitchFamily="2" charset="0"/>
              </a:rPr>
              <a:t>Enseña y entrena </a:t>
            </a:r>
          </a:p>
          <a:p>
            <a:r>
              <a:rPr lang="es-ES" b="0" i="0" dirty="0">
                <a:solidFill>
                  <a:srgbClr val="3C4043"/>
                </a:solidFill>
                <a:effectLst/>
                <a:latin typeface="Roboto" panose="02000000000000000000" pitchFamily="2" charset="0"/>
              </a:rPr>
              <a:t>- Tómese el tiempo para desarrollar su propia capacidad </a:t>
            </a:r>
          </a:p>
          <a:p>
            <a:r>
              <a:rPr lang="es-ES" b="0" i="0" dirty="0">
                <a:solidFill>
                  <a:srgbClr val="3C4043"/>
                </a:solidFill>
                <a:effectLst/>
                <a:latin typeface="Roboto" panose="02000000000000000000" pitchFamily="2" charset="0"/>
              </a:rPr>
              <a:t>- Comparta su conocimiento</a:t>
            </a:r>
          </a:p>
          <a:p>
            <a:r>
              <a:rPr lang="es-ES" b="0" i="0" dirty="0">
                <a:solidFill>
                  <a:srgbClr val="3C4043"/>
                </a:solidFill>
                <a:effectLst/>
                <a:latin typeface="Roboto" panose="02000000000000000000" pitchFamily="2" charset="0"/>
              </a:rPr>
              <a:t> - Refuerce los estándares </a:t>
            </a:r>
          </a:p>
          <a:p>
            <a:r>
              <a:rPr lang="es-ES" b="0" i="0" dirty="0">
                <a:solidFill>
                  <a:srgbClr val="3C4043"/>
                </a:solidFill>
                <a:effectLst/>
                <a:latin typeface="Roboto" panose="02000000000000000000" pitchFamily="2" charset="0"/>
              </a:rPr>
              <a:t>- Comunique el por qué </a:t>
            </a:r>
          </a:p>
          <a:p>
            <a:endParaRPr lang="es-ES" dirty="0">
              <a:solidFill>
                <a:srgbClr val="3C4043"/>
              </a:solidFill>
              <a:latin typeface="Roboto" panose="02000000000000000000" pitchFamily="2" charset="0"/>
            </a:endParaRPr>
          </a:p>
          <a:p>
            <a:r>
              <a:rPr lang="es-ES" b="0" i="0" dirty="0">
                <a:solidFill>
                  <a:srgbClr val="3C4043"/>
                </a:solidFill>
                <a:effectLst/>
                <a:latin typeface="Roboto" panose="02000000000000000000" pitchFamily="2" charset="0"/>
              </a:rPr>
              <a:t>• Comprender y ser un modelo a seguir: </a:t>
            </a:r>
          </a:p>
          <a:p>
            <a:r>
              <a:rPr lang="es-ES" b="0" i="0" dirty="0">
                <a:solidFill>
                  <a:srgbClr val="3C4043"/>
                </a:solidFill>
                <a:effectLst/>
                <a:latin typeface="Roboto" panose="02000000000000000000" pitchFamily="2" charset="0"/>
              </a:rPr>
              <a:t>- Cultura de responsabilidad</a:t>
            </a:r>
          </a:p>
          <a:p>
            <a:r>
              <a:rPr lang="es-ES" b="0" i="0" dirty="0">
                <a:solidFill>
                  <a:srgbClr val="3C4043"/>
                </a:solidFill>
                <a:effectLst/>
                <a:latin typeface="Roboto" panose="02000000000000000000" pitchFamily="2" charset="0"/>
              </a:rPr>
              <a:t> - Modelo de influencia</a:t>
            </a:r>
          </a:p>
          <a:p>
            <a:r>
              <a:rPr lang="es-ES" b="0" i="0" dirty="0">
                <a:solidFill>
                  <a:srgbClr val="3C4043"/>
                </a:solidFill>
                <a:effectLst/>
                <a:latin typeface="Roboto" panose="02000000000000000000" pitchFamily="2" charset="0"/>
              </a:rPr>
              <a:t> - Pensamiento y principios de liderazgo de servicio </a:t>
            </a:r>
          </a:p>
          <a:p>
            <a:r>
              <a:rPr lang="es-ES" b="0" i="0" dirty="0">
                <a:solidFill>
                  <a:srgbClr val="3C4043"/>
                </a:solidFill>
                <a:effectLst/>
                <a:latin typeface="Roboto" panose="02000000000000000000" pitchFamily="2" charset="0"/>
              </a:rPr>
              <a:t>- Liderazgo 6P</a:t>
            </a:r>
          </a:p>
          <a:p>
            <a:r>
              <a:rPr lang="es-ES" b="0" i="0" dirty="0">
                <a:solidFill>
                  <a:srgbClr val="3C4043"/>
                </a:solidFill>
                <a:effectLst/>
                <a:latin typeface="Roboto" panose="02000000000000000000" pitchFamily="2" charset="0"/>
              </a:rPr>
              <a:t> - Modelo de “</a:t>
            </a:r>
            <a:r>
              <a:rPr lang="es-ES" b="0" i="0" dirty="0" err="1">
                <a:solidFill>
                  <a:srgbClr val="3C4043"/>
                </a:solidFill>
                <a:effectLst/>
                <a:latin typeface="Roboto" panose="02000000000000000000" pitchFamily="2" charset="0"/>
              </a:rPr>
              <a:t>Accountability</a:t>
            </a:r>
            <a:r>
              <a:rPr lang="es-ES" b="0" i="0" dirty="0">
                <a:solidFill>
                  <a:srgbClr val="3C4043"/>
                </a:solidFill>
                <a:effectLst/>
                <a:latin typeface="Roboto" panose="02000000000000000000" pitchFamily="2" charset="0"/>
              </a:rPr>
              <a:t>” (responsabilidad)</a:t>
            </a:r>
          </a:p>
          <a:p>
            <a:r>
              <a:rPr lang="es-ES" b="0" i="0" dirty="0">
                <a:solidFill>
                  <a:srgbClr val="3C4043"/>
                </a:solidFill>
                <a:effectLst/>
                <a:latin typeface="Roboto" panose="02000000000000000000" pitchFamily="2" charset="0"/>
              </a:rPr>
              <a:t> - Líder Trabajo estándar</a:t>
            </a:r>
            <a:endParaRPr lang="es-AR" dirty="0"/>
          </a:p>
        </p:txBody>
      </p:sp>
      <p:sp>
        <p:nvSpPr>
          <p:cNvPr id="4" name="CuadroTexto 3">
            <a:extLst>
              <a:ext uri="{FF2B5EF4-FFF2-40B4-BE49-F238E27FC236}">
                <a16:creationId xmlns:a16="http://schemas.microsoft.com/office/drawing/2014/main" id="{FF1857AE-4590-8407-F523-7AC21B41030B}"/>
              </a:ext>
            </a:extLst>
          </p:cNvPr>
          <p:cNvSpPr txBox="1"/>
          <p:nvPr/>
        </p:nvSpPr>
        <p:spPr>
          <a:xfrm>
            <a:off x="1458898" y="1151692"/>
            <a:ext cx="8322839" cy="461665"/>
          </a:xfrm>
          <a:prstGeom prst="rect">
            <a:avLst/>
          </a:prstGeom>
          <a:noFill/>
        </p:spPr>
        <p:txBody>
          <a:bodyPr wrap="square">
            <a:spAutoFit/>
          </a:bodyPr>
          <a:lstStyle/>
          <a:p>
            <a:r>
              <a:rPr lang="es-ES" sz="2400" b="1" dirty="0">
                <a:latin typeface="-apple-system"/>
              </a:rPr>
              <a:t>Características principales de un Líder enfocado a los cambios</a:t>
            </a:r>
          </a:p>
        </p:txBody>
      </p:sp>
      <p:pic>
        <p:nvPicPr>
          <p:cNvPr id="7" name="Imagen 6">
            <a:extLst>
              <a:ext uri="{FF2B5EF4-FFF2-40B4-BE49-F238E27FC236}">
                <a16:creationId xmlns:a16="http://schemas.microsoft.com/office/drawing/2014/main" id="{ECC6EF28-D941-8376-2B24-F6EF16E7732C}"/>
              </a:ext>
            </a:extLst>
          </p:cNvPr>
          <p:cNvPicPr>
            <a:picLocks noChangeAspect="1"/>
          </p:cNvPicPr>
          <p:nvPr/>
        </p:nvPicPr>
        <p:blipFill>
          <a:blip r:embed="rId3"/>
          <a:stretch>
            <a:fillRect/>
          </a:stretch>
        </p:blipFill>
        <p:spPr>
          <a:xfrm>
            <a:off x="6267288" y="429878"/>
            <a:ext cx="6286823" cy="3683189"/>
          </a:xfrm>
          <a:prstGeom prst="rect">
            <a:avLst/>
          </a:prstGeom>
        </p:spPr>
      </p:pic>
      <p:pic>
        <p:nvPicPr>
          <p:cNvPr id="9" name="Imagen 8">
            <a:extLst>
              <a:ext uri="{FF2B5EF4-FFF2-40B4-BE49-F238E27FC236}">
                <a16:creationId xmlns:a16="http://schemas.microsoft.com/office/drawing/2014/main" id="{938E70FA-01CE-BFE9-EB12-3C0A54C25EC8}"/>
              </a:ext>
            </a:extLst>
          </p:cNvPr>
          <p:cNvPicPr>
            <a:picLocks noChangeAspect="1"/>
          </p:cNvPicPr>
          <p:nvPr/>
        </p:nvPicPr>
        <p:blipFill>
          <a:blip r:embed="rId4"/>
          <a:stretch>
            <a:fillRect/>
          </a:stretch>
        </p:blipFill>
        <p:spPr>
          <a:xfrm>
            <a:off x="8016872" y="4113067"/>
            <a:ext cx="4537239" cy="3021828"/>
          </a:xfrm>
          <a:prstGeom prst="rect">
            <a:avLst/>
          </a:prstGeom>
        </p:spPr>
      </p:pic>
    </p:spTree>
    <p:extLst>
      <p:ext uri="{BB962C8B-B14F-4D97-AF65-F5344CB8AC3E}">
        <p14:creationId xmlns:p14="http://schemas.microsoft.com/office/powerpoint/2010/main" val="340950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Marcador de posición de imagen 11" descr="Manos que se unen en un círculo">
            <a:extLst>
              <a:ext uri="{FF2B5EF4-FFF2-40B4-BE49-F238E27FC236}">
                <a16:creationId xmlns:a16="http://schemas.microsoft.com/office/drawing/2014/main" id="{0279D2A0-4078-433D-7EDF-D4697D229A31}"/>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9780588" cy="6804025"/>
          </a:xfrm>
          <a:prstGeom prst="rect">
            <a:avLst/>
          </a:prstGeom>
          <a:solidFill>
            <a:srgbClr val="FFFFFF">
              <a:lumMod val="85000"/>
            </a:srgbClr>
          </a:solidFill>
        </p:spPr>
      </p:pic>
      <p:sp>
        <p:nvSpPr>
          <p:cNvPr id="9" name="Título 2">
            <a:extLst>
              <a:ext uri="{FF2B5EF4-FFF2-40B4-BE49-F238E27FC236}">
                <a16:creationId xmlns:a16="http://schemas.microsoft.com/office/drawing/2014/main" id="{9471083A-98D2-8F37-7493-9C680DF70067}"/>
              </a:ext>
            </a:extLst>
          </p:cNvPr>
          <p:cNvSpPr txBox="1">
            <a:spLocks/>
          </p:cNvSpPr>
          <p:nvPr/>
        </p:nvSpPr>
        <p:spPr>
          <a:xfrm>
            <a:off x="3200400" y="2811053"/>
            <a:ext cx="8991600" cy="1261295"/>
          </a:xfrm>
          <a:prstGeom prst="rect">
            <a:avLst/>
          </a:prstGeom>
          <a:solidFill>
            <a:srgbClr val="FFFFFF"/>
          </a:solidFill>
        </p:spPr>
        <p:txBody>
          <a:bodyPr vert="horz" lIns="180000" tIns="180000" rIns="252000" bIns="180000" rtlCol="0" anchor="t">
            <a:noAutofit/>
          </a:bodyPr>
          <a:lstStyle>
            <a:lvl1pPr algn="r" defTabSz="914400" rtl="0" eaLnBrk="1" latinLnBrk="0" hangingPunct="1">
              <a:lnSpc>
                <a:spcPct val="70000"/>
              </a:lnSpc>
              <a:spcBef>
                <a:spcPct val="0"/>
              </a:spcBef>
              <a:buNone/>
              <a:defRPr lang="en-ZA" sz="3800" b="1" kern="1200" spc="-300" dirty="0">
                <a:solidFill>
                  <a:schemeClr val="tx1">
                    <a:lumMod val="75000"/>
                    <a:lumOff val="25000"/>
                  </a:schemeClr>
                </a:solidFill>
                <a:latin typeface="+mj-lt"/>
                <a:ea typeface="+mj-ea"/>
                <a:cs typeface="+mj-cs"/>
              </a:defRPr>
            </a:lvl1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es-ES" sz="5200" b="1" i="0" u="none" strike="noStrike" kern="1200" cap="none" spc="-300" normalizeH="0" baseline="0" noProof="0" dirty="0">
                <a:ln>
                  <a:noFill/>
                </a:ln>
                <a:solidFill>
                  <a:srgbClr val="0000CC"/>
                </a:solidFill>
                <a:effectLst/>
                <a:uLnTx/>
                <a:uFillTx/>
                <a:latin typeface="Corbel"/>
                <a:ea typeface="+mj-ea"/>
                <a:cs typeface="+mj-cs"/>
              </a:rPr>
              <a:t>Método </a:t>
            </a:r>
            <a:r>
              <a:rPr kumimoji="0" lang="es-ES" sz="5200" b="1" i="0" u="none" strike="noStrike" kern="1200" cap="none" spc="-300" normalizeH="0" baseline="0" noProof="0" dirty="0">
                <a:ln>
                  <a:noFill/>
                </a:ln>
                <a:solidFill>
                  <a:srgbClr val="FF3399"/>
                </a:solidFill>
                <a:effectLst/>
                <a:uLnTx/>
                <a:uFillTx/>
                <a:latin typeface="Corbel"/>
                <a:ea typeface="+mj-ea"/>
                <a:cs typeface="+mj-cs"/>
              </a:rPr>
              <a:t>LFT</a:t>
            </a:r>
            <a:br>
              <a:rPr kumimoji="0" lang="es-ES" sz="5200" b="1" i="0" u="none" strike="noStrike" kern="1200" cap="none" spc="-300" normalizeH="0" baseline="0" noProof="0" dirty="0">
                <a:ln>
                  <a:noFill/>
                </a:ln>
                <a:solidFill>
                  <a:srgbClr val="0000CC"/>
                </a:solidFill>
                <a:effectLst/>
                <a:uLnTx/>
                <a:uFillTx/>
                <a:latin typeface="Corbel"/>
                <a:ea typeface="+mj-ea"/>
                <a:cs typeface="+mj-cs"/>
              </a:rPr>
            </a:br>
            <a:r>
              <a:rPr kumimoji="0" lang="es-ES" sz="5200" b="1" i="0" u="none" strike="noStrike" kern="1200" cap="none" spc="-300" normalizeH="0" baseline="0" noProof="0" dirty="0">
                <a:ln>
                  <a:noFill/>
                </a:ln>
                <a:solidFill>
                  <a:srgbClr val="0000CC"/>
                </a:solidFill>
                <a:effectLst/>
                <a:uLnTx/>
                <a:uFillTx/>
                <a:latin typeface="Corbel"/>
                <a:ea typeface="+mj-ea"/>
                <a:cs typeface="+mj-cs"/>
              </a:rPr>
              <a:t>                                                 </a:t>
            </a:r>
            <a:r>
              <a:rPr kumimoji="0" lang="es-ES" sz="3200" b="1" i="0" u="none" strike="noStrike" kern="1200" cap="none" spc="-300" normalizeH="0" baseline="0" noProof="0" dirty="0">
                <a:ln>
                  <a:noFill/>
                </a:ln>
                <a:solidFill>
                  <a:srgbClr val="0000CC"/>
                </a:solidFill>
                <a:effectLst/>
                <a:uLnTx/>
                <a:uFillTx/>
                <a:latin typeface="Corbel"/>
                <a:ea typeface="+mj-ea"/>
                <a:cs typeface="+mj-cs"/>
              </a:rPr>
              <a:t>A la Connie Clark </a:t>
            </a:r>
          </a:p>
          <a:p>
            <a:pPr marL="0" marR="0" lvl="0" indent="0" algn="ctr" defTabSz="914400" rtl="0" eaLnBrk="1" fontAlgn="auto" latinLnBrk="0" hangingPunct="1">
              <a:lnSpc>
                <a:spcPct val="70000"/>
              </a:lnSpc>
              <a:spcBef>
                <a:spcPct val="0"/>
              </a:spcBef>
              <a:spcAft>
                <a:spcPts val="0"/>
              </a:spcAft>
              <a:buClrTx/>
              <a:buSzTx/>
              <a:buFontTx/>
              <a:buNone/>
              <a:tabLst/>
              <a:defRPr/>
            </a:pPr>
            <a:endParaRPr kumimoji="0" lang="es-ES" sz="3200" b="1" i="0" u="none" strike="noStrike" kern="1200" cap="none" spc="-300" normalizeH="0" baseline="0" noProof="0" dirty="0">
              <a:ln>
                <a:noFill/>
              </a:ln>
              <a:solidFill>
                <a:srgbClr val="0000CC"/>
              </a:solidFill>
              <a:effectLst/>
              <a:uLnTx/>
              <a:uFillTx/>
              <a:latin typeface="Corbel"/>
              <a:ea typeface="+mj-ea"/>
              <a:cs typeface="+mj-cs"/>
            </a:endParaRPr>
          </a:p>
        </p:txBody>
      </p:sp>
      <p:sp>
        <p:nvSpPr>
          <p:cNvPr id="10" name="Subtítulo 3">
            <a:extLst>
              <a:ext uri="{FF2B5EF4-FFF2-40B4-BE49-F238E27FC236}">
                <a16:creationId xmlns:a16="http://schemas.microsoft.com/office/drawing/2014/main" id="{12B1270C-F633-9796-D54A-4B18D5CA9451}"/>
              </a:ext>
            </a:extLst>
          </p:cNvPr>
          <p:cNvSpPr txBox="1">
            <a:spLocks/>
          </p:cNvSpPr>
          <p:nvPr/>
        </p:nvSpPr>
        <p:spPr>
          <a:xfrm>
            <a:off x="3200400" y="4061039"/>
            <a:ext cx="6580188" cy="892624"/>
          </a:xfrm>
          <a:prstGeom prst="rect">
            <a:avLst/>
          </a:prstGeom>
          <a:solidFill>
            <a:srgbClr val="0000CC">
              <a:alpha val="80000"/>
            </a:srgbClr>
          </a:solidFill>
        </p:spPr>
        <p:txBody>
          <a:bodyPr vert="horz" lIns="180000" tIns="180000" rIns="180000" bIns="180000" rtlCol="0">
            <a:noAutofit/>
          </a:bodyPr>
          <a:lstStyle>
            <a:lvl1pPr marL="0" indent="0" algn="r" defTabSz="914400" rtl="0" eaLnBrk="1" latinLnBrk="0" hangingPunct="1">
              <a:lnSpc>
                <a:spcPct val="90000"/>
              </a:lnSpc>
              <a:spcBef>
                <a:spcPts val="1000"/>
              </a:spcBef>
              <a:buFont typeface="Arial" panose="020B0604020202020204" pitchFamily="34" charset="0"/>
              <a:buNone/>
              <a:defRPr lang="en-ZA" sz="1800" kern="1200" dirty="0">
                <a:solidFill>
                  <a:schemeClr val="bg1"/>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 sz="1400" b="0" i="0" u="none" strike="noStrike" kern="1200" cap="none" spc="0" normalizeH="0" baseline="0" noProof="0" dirty="0">
              <a:ln>
                <a:noFill/>
              </a:ln>
              <a:solidFill>
                <a:srgbClr val="FFFFFF"/>
              </a:solidFill>
              <a:effectLst/>
              <a:uLnTx/>
              <a:uFillTx/>
              <a:latin typeface="Candara"/>
              <a:ea typeface="+mn-ea"/>
              <a:cs typeface="+mn-cs"/>
            </a:endParaRPr>
          </a:p>
        </p:txBody>
      </p:sp>
      <p:sp>
        <p:nvSpPr>
          <p:cNvPr id="11" name="Cuadro de texto 50">
            <a:extLst>
              <a:ext uri="{FF2B5EF4-FFF2-40B4-BE49-F238E27FC236}">
                <a16:creationId xmlns:a16="http://schemas.microsoft.com/office/drawing/2014/main" id="{1833051D-5018-DEC2-8B44-9059B75ED28A}"/>
              </a:ext>
            </a:extLst>
          </p:cNvPr>
          <p:cNvSpPr txBox="1"/>
          <p:nvPr/>
        </p:nvSpPr>
        <p:spPr>
          <a:xfrm>
            <a:off x="9780588" y="4072348"/>
            <a:ext cx="2282808" cy="2267787"/>
          </a:xfrm>
          <a:prstGeom prst="rect">
            <a:avLst/>
          </a:prstGeom>
          <a:noFill/>
        </p:spPr>
        <p:txBody>
          <a:bodyPr wrap="square" tIns="108000" bIns="0" rtlCol="0" anchor="ctr">
            <a:spAutoFit/>
          </a:bodyPr>
          <a:lstStyle/>
          <a:p>
            <a:pPr algn="ctr">
              <a:lnSpc>
                <a:spcPct val="150000"/>
              </a:lnSpc>
            </a:pPr>
            <a:r>
              <a:rPr lang="es-ES" sz="2400" spc="140" dirty="0">
                <a:solidFill>
                  <a:prstClr val="black">
                    <a:lumMod val="75000"/>
                    <a:lumOff val="25000"/>
                  </a:prstClr>
                </a:solidFill>
                <a:latin typeface="Corbel"/>
              </a:rPr>
              <a:t>El camino hacia un Liderazgo de Excelencia</a:t>
            </a:r>
            <a:endParaRPr lang="es-ES" spc="140" dirty="0">
              <a:solidFill>
                <a:prstClr val="black">
                  <a:lumMod val="75000"/>
                  <a:lumOff val="25000"/>
                </a:prstClr>
              </a:solidFill>
              <a:latin typeface="Corbel"/>
            </a:endParaRPr>
          </a:p>
        </p:txBody>
      </p:sp>
      <p:sp>
        <p:nvSpPr>
          <p:cNvPr id="2" name="CuadroTexto 1">
            <a:extLst>
              <a:ext uri="{FF2B5EF4-FFF2-40B4-BE49-F238E27FC236}">
                <a16:creationId xmlns:a16="http://schemas.microsoft.com/office/drawing/2014/main" id="{A465A6E4-652C-2DC7-86B4-5B8234941BEF}"/>
              </a:ext>
            </a:extLst>
          </p:cNvPr>
          <p:cNvSpPr txBox="1"/>
          <p:nvPr/>
        </p:nvSpPr>
        <p:spPr>
          <a:xfrm>
            <a:off x="3272709" y="4424510"/>
            <a:ext cx="672750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s-ES" sz="1800" b="1" i="1" u="none" strike="noStrike" kern="1200" cap="none" spc="0" normalizeH="0" baseline="0" noProof="0" dirty="0">
                <a:ln>
                  <a:noFill/>
                </a:ln>
                <a:solidFill>
                  <a:srgbClr val="FFFFFF"/>
                </a:solidFill>
                <a:effectLst/>
                <a:uLnTx/>
                <a:uFillTx/>
                <a:latin typeface="Candara"/>
                <a:ea typeface="+mn-ea"/>
                <a:cs typeface="+mn-cs"/>
              </a:rPr>
              <a:t>Liderazgo Transformacional, Coaching y Mentoría Especializada</a:t>
            </a:r>
          </a:p>
        </p:txBody>
      </p:sp>
      <p:sp>
        <p:nvSpPr>
          <p:cNvPr id="3" name="CuadroTexto 2">
            <a:extLst>
              <a:ext uri="{FF2B5EF4-FFF2-40B4-BE49-F238E27FC236}">
                <a16:creationId xmlns:a16="http://schemas.microsoft.com/office/drawing/2014/main" id="{41CDFD70-DE50-1A2C-3F4B-D3109A439ABD}"/>
              </a:ext>
            </a:extLst>
          </p:cNvPr>
          <p:cNvSpPr txBox="1"/>
          <p:nvPr/>
        </p:nvSpPr>
        <p:spPr>
          <a:xfrm>
            <a:off x="3814176" y="4233804"/>
            <a:ext cx="2517731" cy="3416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ES" b="0" i="1" u="none" strike="noStrike" kern="1200" cap="none" spc="0" normalizeH="0" baseline="0" noProof="0" dirty="0">
                <a:ln>
                  <a:noFill/>
                </a:ln>
                <a:solidFill>
                  <a:srgbClr val="FFFFFF"/>
                </a:solidFill>
                <a:effectLst/>
                <a:uLnTx/>
                <a:uFillTx/>
                <a:latin typeface="Candara"/>
                <a:ea typeface="+mn-ea"/>
                <a:cs typeface="+mn-cs"/>
              </a:rPr>
              <a:t>Consultora en</a:t>
            </a:r>
          </a:p>
        </p:txBody>
      </p:sp>
    </p:spTree>
    <p:extLst>
      <p:ext uri="{BB962C8B-B14F-4D97-AF65-F5344CB8AC3E}">
        <p14:creationId xmlns:p14="http://schemas.microsoft.com/office/powerpoint/2010/main" val="2905105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xLq9FP3TRSBhR6NESzO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OgqhOiPQGaGVZJCdINL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cE_aRsmRZKyN0bJcKOeO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0_Personalizar Design">
  <a:themeElements>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Personalizar Design">
  <a:themeElements>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449</TotalTime>
  <Words>2341</Words>
  <Application>Microsoft Office PowerPoint</Application>
  <PresentationFormat>Panorámica</PresentationFormat>
  <Paragraphs>417</Paragraphs>
  <Slides>33</Slides>
  <Notes>2</Notes>
  <HiddenSlides>0</HiddenSlides>
  <MMClips>0</MMClips>
  <ScaleCrop>false</ScaleCrop>
  <HeadingPairs>
    <vt:vector size="8" baseType="variant">
      <vt:variant>
        <vt:lpstr>Fuentes usadas</vt:lpstr>
      </vt:variant>
      <vt:variant>
        <vt:i4>17</vt:i4>
      </vt:variant>
      <vt:variant>
        <vt:lpstr>Tema</vt:lpstr>
      </vt:variant>
      <vt:variant>
        <vt:i4>4</vt:i4>
      </vt:variant>
      <vt:variant>
        <vt:lpstr>Servidores OLE incrustados</vt:lpstr>
      </vt:variant>
      <vt:variant>
        <vt:i4>1</vt:i4>
      </vt:variant>
      <vt:variant>
        <vt:lpstr>Títulos de diapositiva</vt:lpstr>
      </vt:variant>
      <vt:variant>
        <vt:i4>33</vt:i4>
      </vt:variant>
    </vt:vector>
  </HeadingPairs>
  <TitlesOfParts>
    <vt:vector size="55" baseType="lpstr">
      <vt:lpstr>72</vt:lpstr>
      <vt:lpstr>72 Black</vt:lpstr>
      <vt:lpstr>Adamina</vt:lpstr>
      <vt:lpstr>Amasis MT Pro Medium</vt:lpstr>
      <vt:lpstr>-apple-system</vt:lpstr>
      <vt:lpstr>Arial</vt:lpstr>
      <vt:lpstr>Calibri</vt:lpstr>
      <vt:lpstr>Calibri Light</vt:lpstr>
      <vt:lpstr>Candara</vt:lpstr>
      <vt:lpstr>Corbel</vt:lpstr>
      <vt:lpstr>Gilroy Bold</vt:lpstr>
      <vt:lpstr>Gilroy Light</vt:lpstr>
      <vt:lpstr>Gilroy-Bold</vt:lpstr>
      <vt:lpstr>Gilroy-Regular</vt:lpstr>
      <vt:lpstr>Roboto</vt:lpstr>
      <vt:lpstr>Times New Roman</vt:lpstr>
      <vt:lpstr>Wingdings</vt:lpstr>
      <vt:lpstr>Tema de Office</vt:lpstr>
      <vt:lpstr>1_Tema de Office</vt:lpstr>
      <vt:lpstr>10_Personalizar Design</vt:lpstr>
      <vt:lpstr>9_Personalizar Design</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lark, Connie</dc:creator>
  <cp:lastModifiedBy>Clark, Connie</cp:lastModifiedBy>
  <cp:revision>1</cp:revision>
  <dcterms:created xsi:type="dcterms:W3CDTF">2024-03-24T23:33:28Z</dcterms:created>
  <dcterms:modified xsi:type="dcterms:W3CDTF">2024-05-24T00:0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f52e709-27cd-4bee-a620-278331e736b2_Enabled">
    <vt:lpwstr>true</vt:lpwstr>
  </property>
  <property fmtid="{D5CDD505-2E9C-101B-9397-08002B2CF9AE}" pid="3" name="MSIP_Label_3f52e709-27cd-4bee-a620-278331e736b2_SetDate">
    <vt:lpwstr>2024-03-24T23:57:44Z</vt:lpwstr>
  </property>
  <property fmtid="{D5CDD505-2E9C-101B-9397-08002B2CF9AE}" pid="4" name="MSIP_Label_3f52e709-27cd-4bee-a620-278331e736b2_Method">
    <vt:lpwstr>Privileged</vt:lpwstr>
  </property>
  <property fmtid="{D5CDD505-2E9C-101B-9397-08002B2CF9AE}" pid="5" name="MSIP_Label_3f52e709-27cd-4bee-a620-278331e736b2_Name">
    <vt:lpwstr>3f52e709-27cd-4bee-a620-278331e736b2</vt:lpwstr>
  </property>
  <property fmtid="{D5CDD505-2E9C-101B-9397-08002B2CF9AE}" pid="6" name="MSIP_Label_3f52e709-27cd-4bee-a620-278331e736b2_SiteId">
    <vt:lpwstr>fee2180b-69b6-4afe-9f14-ccd70bd4c737</vt:lpwstr>
  </property>
  <property fmtid="{D5CDD505-2E9C-101B-9397-08002B2CF9AE}" pid="7" name="MSIP_Label_3f52e709-27cd-4bee-a620-278331e736b2_ActionId">
    <vt:lpwstr>6cd616b0-1645-4aa2-a9d5-6cac1bfa2267</vt:lpwstr>
  </property>
  <property fmtid="{D5CDD505-2E9C-101B-9397-08002B2CF9AE}" pid="8" name="MSIP_Label_3f52e709-27cd-4bee-a620-278331e736b2_ContentBits">
    <vt:lpwstr>0</vt:lpwstr>
  </property>
</Properties>
</file>